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7"/>
  </p:notesMasterIdLst>
  <p:sldIdLst>
    <p:sldId id="256" r:id="rId3"/>
    <p:sldId id="271" r:id="rId4"/>
    <p:sldId id="260" r:id="rId5"/>
    <p:sldId id="261" r:id="rId6"/>
    <p:sldId id="277" r:id="rId7"/>
    <p:sldId id="291" r:id="rId8"/>
    <p:sldId id="298" r:id="rId9"/>
    <p:sldId id="300" r:id="rId10"/>
    <p:sldId id="301" r:id="rId11"/>
    <p:sldId id="297" r:id="rId12"/>
    <p:sldId id="296" r:id="rId13"/>
    <p:sldId id="303" r:id="rId14"/>
    <p:sldId id="293" r:id="rId15"/>
    <p:sldId id="299" r:id="rId16"/>
    <p:sldId id="302" r:id="rId17"/>
    <p:sldId id="305" r:id="rId18"/>
    <p:sldId id="275" r:id="rId19"/>
    <p:sldId id="263" r:id="rId20"/>
    <p:sldId id="304" r:id="rId21"/>
    <p:sldId id="265" r:id="rId22"/>
    <p:sldId id="292" r:id="rId23"/>
    <p:sldId id="267" r:id="rId24"/>
    <p:sldId id="268" r:id="rId25"/>
    <p:sldId id="269" r:id="rId26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9BE3EA1-6128-4769-AB66-7D058930C38F}">
          <p14:sldIdLst>
            <p14:sldId id="256"/>
            <p14:sldId id="271"/>
            <p14:sldId id="260"/>
            <p14:sldId id="261"/>
          </p14:sldIdLst>
        </p14:section>
        <p14:section name="Teams Adoption Fichtner" id="{6B374951-65FF-4039-B710-3570E4AD8DD1}">
          <p14:sldIdLst>
            <p14:sldId id="277"/>
          </p14:sldIdLst>
        </p14:section>
        <p14:section name="Neuigkeiten" id="{8C10A077-0444-4933-AAED-67079AA3B409}">
          <p14:sldIdLst>
            <p14:sldId id="291"/>
            <p14:sldId id="298"/>
            <p14:sldId id="300"/>
            <p14:sldId id="301"/>
            <p14:sldId id="297"/>
            <p14:sldId id="296"/>
            <p14:sldId id="303"/>
            <p14:sldId id="293"/>
            <p14:sldId id="299"/>
            <p14:sldId id="302"/>
          </p14:sldIdLst>
        </p14:section>
        <p14:section name="Teams UseCases" id="{EF199782-68CD-42F0-9D8C-3E107E944E80}">
          <p14:sldIdLst>
            <p14:sldId id="305"/>
          </p14:sldIdLst>
        </p14:section>
        <p14:section name="Teams Feedback" id="{8B596670-5A58-4644-88EF-2801D8AED33C}">
          <p14:sldIdLst>
            <p14:sldId id="275"/>
          </p14:sldIdLst>
        </p14:section>
        <p14:section name="Q &amp; A" id="{E3CA914C-4567-4849-A1B2-5AAC28F12D6B}">
          <p14:sldIdLst>
            <p14:sldId id="263"/>
            <p14:sldId id="304"/>
            <p14:sldId id="265"/>
            <p14:sldId id="292"/>
          </p14:sldIdLst>
        </p14:section>
        <p14:section name="BACKUP" id="{B1357A94-1543-4F71-85BB-0A2D04383A01}">
          <p14:sldIdLst>
            <p14:sldId id="267"/>
            <p14:sldId id="268"/>
            <p14:sldId id="26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2265D3-8133-4DA2-B8F0-5147610A7C36}" v="84" dt="2019-11-27T13:17:06.1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653" autoAdjust="0"/>
  </p:normalViewPr>
  <p:slideViewPr>
    <p:cSldViewPr snapToGrid="0">
      <p:cViewPr varScale="1">
        <p:scale>
          <a:sx n="86" d="100"/>
          <a:sy n="86" d="100"/>
        </p:scale>
        <p:origin x="72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0C5E3143-815D-427B-B8D5-A105FC25ECA7}"/>
    <pc:docChg chg="undo custSel mod addSld delSld modSld sldOrd delSection modSection">
      <pc:chgData name="Thomas Stensitzki" userId="75cafe6b-2f2a-469b-85c4-eec3b9c972ba" providerId="ADAL" clId="{0C5E3143-815D-427B-B8D5-A105FC25ECA7}" dt="2019-04-20T10:40:34.036" v="1006" actId="1076"/>
      <pc:docMkLst>
        <pc:docMk/>
      </pc:docMkLst>
      <pc:sldChg chg="modSp">
        <pc:chgData name="Thomas Stensitzki" userId="75cafe6b-2f2a-469b-85c4-eec3b9c972ba" providerId="ADAL" clId="{0C5E3143-815D-427B-B8D5-A105FC25ECA7}" dt="2019-04-20T09:04:17.378" v="9" actId="6549"/>
        <pc:sldMkLst>
          <pc:docMk/>
          <pc:sldMk cId="2233058839" sldId="256"/>
        </pc:sldMkLst>
        <pc:spChg chg="mod">
          <ac:chgData name="Thomas Stensitzki" userId="75cafe6b-2f2a-469b-85c4-eec3b9c972ba" providerId="ADAL" clId="{0C5E3143-815D-427B-B8D5-A105FC25ECA7}" dt="2019-04-20T09:04:17.378" v="9" actId="6549"/>
          <ac:spMkLst>
            <pc:docMk/>
            <pc:sldMk cId="2233058839" sldId="256"/>
            <ac:spMk id="3" creationId="{9CA5EC23-BD0A-406D-A05E-E69B661C942E}"/>
          </ac:spMkLst>
        </pc:spChg>
      </pc:sldChg>
      <pc:sldChg chg="modSp">
        <pc:chgData name="Thomas Stensitzki" userId="75cafe6b-2f2a-469b-85c4-eec3b9c972ba" providerId="ADAL" clId="{0C5E3143-815D-427B-B8D5-A105FC25ECA7}" dt="2019-04-20T09:05:01.314" v="13" actId="6549"/>
        <pc:sldMkLst>
          <pc:docMk/>
          <pc:sldMk cId="165204413" sldId="261"/>
        </pc:sldMkLst>
        <pc:spChg chg="mod">
          <ac:chgData name="Thomas Stensitzki" userId="75cafe6b-2f2a-469b-85c4-eec3b9c972ba" providerId="ADAL" clId="{0C5E3143-815D-427B-B8D5-A105FC25ECA7}" dt="2019-04-20T09:05:01.314" v="13" actId="6549"/>
          <ac:spMkLst>
            <pc:docMk/>
            <pc:sldMk cId="165204413" sldId="261"/>
            <ac:spMk id="4" creationId="{68008D52-F382-4F98-896B-9B9599258C92}"/>
          </ac:spMkLst>
        </pc:spChg>
      </pc:sldChg>
      <pc:sldChg chg="modSp">
        <pc:chgData name="Thomas Stensitzki" userId="75cafe6b-2f2a-469b-85c4-eec3b9c972ba" providerId="ADAL" clId="{0C5E3143-815D-427B-B8D5-A105FC25ECA7}" dt="2019-04-20T09:12:33.548" v="239" actId="6549"/>
        <pc:sldMkLst>
          <pc:docMk/>
          <pc:sldMk cId="3056444349" sldId="265"/>
        </pc:sldMkLst>
        <pc:spChg chg="mod">
          <ac:chgData name="Thomas Stensitzki" userId="75cafe6b-2f2a-469b-85c4-eec3b9c972ba" providerId="ADAL" clId="{0C5E3143-815D-427B-B8D5-A105FC25ECA7}" dt="2019-04-20T09:12:33.548" v="239" actId="6549"/>
          <ac:spMkLst>
            <pc:docMk/>
            <pc:sldMk cId="3056444349" sldId="265"/>
            <ac:spMk id="2" creationId="{67872E48-A59A-4E07-BC6E-6244BE730E18}"/>
          </ac:spMkLst>
        </pc:spChg>
      </pc:sldChg>
      <pc:sldChg chg="addSp delSp">
        <pc:chgData name="Thomas Stensitzki" userId="75cafe6b-2f2a-469b-85c4-eec3b9c972ba" providerId="ADAL" clId="{0C5E3143-815D-427B-B8D5-A105FC25ECA7}" dt="2019-04-20T09:04:43.501" v="11"/>
        <pc:sldMkLst>
          <pc:docMk/>
          <pc:sldMk cId="3508810742" sldId="271"/>
        </pc:sldMkLst>
        <pc:picChg chg="add">
          <ac:chgData name="Thomas Stensitzki" userId="75cafe6b-2f2a-469b-85c4-eec3b9c972ba" providerId="ADAL" clId="{0C5E3143-815D-427B-B8D5-A105FC25ECA7}" dt="2019-04-20T09:04:43.501" v="11"/>
          <ac:picMkLst>
            <pc:docMk/>
            <pc:sldMk cId="3508810742" sldId="271"/>
            <ac:picMk id="5" creationId="{D2CA2F4F-F8C1-425C-B225-A647DD4C4928}"/>
          </ac:picMkLst>
        </pc:picChg>
        <pc:picChg chg="del">
          <ac:chgData name="Thomas Stensitzki" userId="75cafe6b-2f2a-469b-85c4-eec3b9c972ba" providerId="ADAL" clId="{0C5E3143-815D-427B-B8D5-A105FC25ECA7}" dt="2019-04-20T09:04:26.343" v="10" actId="478"/>
          <ac:picMkLst>
            <pc:docMk/>
            <pc:sldMk cId="3508810742" sldId="271"/>
            <ac:picMk id="6" creationId="{89E411C8-B006-46D1-86FF-E411019C3603}"/>
          </ac:picMkLst>
        </pc:picChg>
      </pc:sldChg>
      <pc:sldChg chg="modSp">
        <pc:chgData name="Thomas Stensitzki" userId="75cafe6b-2f2a-469b-85c4-eec3b9c972ba" providerId="ADAL" clId="{0C5E3143-815D-427B-B8D5-A105FC25ECA7}" dt="2019-04-20T09:05:15.960" v="29" actId="20577"/>
        <pc:sldMkLst>
          <pc:docMk/>
          <pc:sldMk cId="1952550372" sldId="277"/>
        </pc:sldMkLst>
        <pc:spChg chg="mod">
          <ac:chgData name="Thomas Stensitzki" userId="75cafe6b-2f2a-469b-85c4-eec3b9c972ba" providerId="ADAL" clId="{0C5E3143-815D-427B-B8D5-A105FC25ECA7}" dt="2019-04-20T09:05:15.960" v="29" actId="20577"/>
          <ac:spMkLst>
            <pc:docMk/>
            <pc:sldMk cId="1952550372" sldId="277"/>
            <ac:spMk id="4" creationId="{68008D52-F382-4F98-896B-9B9599258C92}"/>
          </ac:spMkLst>
        </pc:spChg>
      </pc:sldChg>
      <pc:sldChg chg="addSp delSp modSp add">
        <pc:chgData name="Thomas Stensitzki" userId="75cafe6b-2f2a-469b-85c4-eec3b9c972ba" providerId="ADAL" clId="{0C5E3143-815D-427B-B8D5-A105FC25ECA7}" dt="2019-04-20T10:40:09.238" v="996" actId="478"/>
        <pc:sldMkLst>
          <pc:docMk/>
          <pc:sldMk cId="2728232670" sldId="283"/>
        </pc:sldMkLst>
        <pc:spChg chg="del">
          <ac:chgData name="Thomas Stensitzki" userId="75cafe6b-2f2a-469b-85c4-eec3b9c972ba" providerId="ADAL" clId="{0C5E3143-815D-427B-B8D5-A105FC25ECA7}" dt="2019-04-20T10:40:09.238" v="996" actId="478"/>
          <ac:spMkLst>
            <pc:docMk/>
            <pc:sldMk cId="2728232670" sldId="283"/>
            <ac:spMk id="2" creationId="{FC0697DC-1766-4BDD-8062-05A218FE4EAF}"/>
          </ac:spMkLst>
        </pc:spChg>
        <pc:spChg chg="del">
          <ac:chgData name="Thomas Stensitzki" userId="75cafe6b-2f2a-469b-85c4-eec3b9c972ba" providerId="ADAL" clId="{0C5E3143-815D-427B-B8D5-A105FC25ECA7}" dt="2019-04-20T09:06:51.456" v="31" actId="478"/>
          <ac:spMkLst>
            <pc:docMk/>
            <pc:sldMk cId="2728232670" sldId="283"/>
            <ac:spMk id="3" creationId="{84D83787-1132-4488-9AFD-67080A079173}"/>
          </ac:spMkLst>
        </pc:spChg>
        <pc:picChg chg="add del mod">
          <ac:chgData name="Thomas Stensitzki" userId="75cafe6b-2f2a-469b-85c4-eec3b9c972ba" providerId="ADAL" clId="{0C5E3143-815D-427B-B8D5-A105FC25ECA7}" dt="2019-04-20T10:40:06.690" v="995" actId="478"/>
          <ac:picMkLst>
            <pc:docMk/>
            <pc:sldMk cId="2728232670" sldId="283"/>
            <ac:picMk id="4" creationId="{150C9DF7-9F84-4146-B7FA-37D9A4B3CAE6}"/>
          </ac:picMkLst>
        </pc:picChg>
      </pc:sldChg>
      <pc:sldChg chg="addSp delSp modSp add mod setBg setClrOvrMap delDesignElem">
        <pc:chgData name="Thomas Stensitzki" userId="75cafe6b-2f2a-469b-85c4-eec3b9c972ba" providerId="ADAL" clId="{0C5E3143-815D-427B-B8D5-A105FC25ECA7}" dt="2019-04-20T09:25:22.383" v="681" actId="20577"/>
        <pc:sldMkLst>
          <pc:docMk/>
          <pc:sldMk cId="3237114054" sldId="284"/>
        </pc:sldMkLst>
        <pc:spChg chg="add mod">
          <ac:chgData name="Thomas Stensitzki" userId="75cafe6b-2f2a-469b-85c4-eec3b9c972ba" providerId="ADAL" clId="{0C5E3143-815D-427B-B8D5-A105FC25ECA7}" dt="2019-04-20T09:17:31.635" v="549" actId="790"/>
          <ac:spMkLst>
            <pc:docMk/>
            <pc:sldMk cId="3237114054" sldId="284"/>
            <ac:spMk id="2" creationId="{B25A7F00-BD8B-4836-8B11-655FCF007576}"/>
          </ac:spMkLst>
        </pc:spChg>
        <pc:spChg chg="add mod">
          <ac:chgData name="Thomas Stensitzki" userId="75cafe6b-2f2a-469b-85c4-eec3b9c972ba" providerId="ADAL" clId="{0C5E3143-815D-427B-B8D5-A105FC25ECA7}" dt="2019-04-20T09:25:22.383" v="681" actId="20577"/>
          <ac:spMkLst>
            <pc:docMk/>
            <pc:sldMk cId="3237114054" sldId="284"/>
            <ac:spMk id="3" creationId="{79AEE5B6-C5BD-4D7E-9212-6900527E0ECE}"/>
          </ac:spMkLst>
        </pc:spChg>
        <pc:spChg chg="mod ord">
          <ac:chgData name="Thomas Stensitzki" userId="75cafe6b-2f2a-469b-85c4-eec3b9c972ba" providerId="ADAL" clId="{0C5E3143-815D-427B-B8D5-A105FC25ECA7}" dt="2019-04-20T09:09:11.289" v="44" actId="26606"/>
          <ac:spMkLst>
            <pc:docMk/>
            <pc:sldMk cId="3237114054" sldId="284"/>
            <ac:spMk id="4" creationId="{68008D52-F382-4F98-896B-9B9599258C92}"/>
          </ac:spMkLst>
        </pc:spChg>
        <pc:spChg chg="add del">
          <ac:chgData name="Thomas Stensitzki" userId="75cafe6b-2f2a-469b-85c4-eec3b9c972ba" providerId="ADAL" clId="{0C5E3143-815D-427B-B8D5-A105FC25ECA7}" dt="2019-04-20T09:09:11.180" v="43" actId="26606"/>
          <ac:spMkLst>
            <pc:docMk/>
            <pc:sldMk cId="3237114054" sldId="284"/>
            <ac:spMk id="15" creationId="{C5E6CFF1-2F42-4E10-9A97-F116F46F53FE}"/>
          </ac:spMkLst>
        </pc:spChg>
        <pc:spChg chg="del">
          <ac:chgData name="Thomas Stensitzki" userId="75cafe6b-2f2a-469b-85c4-eec3b9c972ba" providerId="ADAL" clId="{0C5E3143-815D-427B-B8D5-A105FC25ECA7}" dt="2019-04-20T09:08:41.169" v="41"/>
          <ac:spMkLst>
            <pc:docMk/>
            <pc:sldMk cId="3237114054" sldId="284"/>
            <ac:spMk id="23" creationId="{86C7B4A1-154A-4DF0-AC46-F88D75A2E0FD}"/>
          </ac:spMkLst>
        </pc:spChg>
        <pc:picChg chg="mod">
          <ac:chgData name="Thomas Stensitzki" userId="75cafe6b-2f2a-469b-85c4-eec3b9c972ba" providerId="ADAL" clId="{0C5E3143-815D-427B-B8D5-A105FC25ECA7}" dt="2019-04-20T09:09:11.289" v="44" actId="26606"/>
          <ac:picMkLst>
            <pc:docMk/>
            <pc:sldMk cId="3237114054" sldId="284"/>
            <ac:picMk id="10" creationId="{489273A7-06E4-4676-99C1-D455725C976A}"/>
          </ac:picMkLst>
        </pc:picChg>
        <pc:cxnChg chg="add del">
          <ac:chgData name="Thomas Stensitzki" userId="75cafe6b-2f2a-469b-85c4-eec3b9c972ba" providerId="ADAL" clId="{0C5E3143-815D-427B-B8D5-A105FC25ECA7}" dt="2019-04-20T09:09:11.180" v="43" actId="26606"/>
          <ac:cxnSpMkLst>
            <pc:docMk/>
            <pc:sldMk cId="3237114054" sldId="284"/>
            <ac:cxnSpMk id="17" creationId="{67182200-4859-4C8D-BCBB-55B245C28BA3}"/>
          </ac:cxnSpMkLst>
        </pc:cxnChg>
      </pc:sldChg>
      <pc:sldChg chg="add">
        <pc:chgData name="Thomas Stensitzki" userId="75cafe6b-2f2a-469b-85c4-eec3b9c972ba" providerId="ADAL" clId="{0C5E3143-815D-427B-B8D5-A105FC25ECA7}" dt="2019-04-20T09:13:04.614" v="242"/>
        <pc:sldMkLst>
          <pc:docMk/>
          <pc:sldMk cId="2739392872" sldId="285"/>
        </pc:sldMkLst>
      </pc:sldChg>
      <pc:sldChg chg="addSp modSp add">
        <pc:chgData name="Thomas Stensitzki" userId="75cafe6b-2f2a-469b-85c4-eec3b9c972ba" providerId="ADAL" clId="{0C5E3143-815D-427B-B8D5-A105FC25ECA7}" dt="2019-04-20T09:20:29.100" v="553" actId="207"/>
        <pc:sldMkLst>
          <pc:docMk/>
          <pc:sldMk cId="3863100687" sldId="286"/>
        </pc:sldMkLst>
        <pc:spChg chg="mod">
          <ac:chgData name="Thomas Stensitzki" userId="75cafe6b-2f2a-469b-85c4-eec3b9c972ba" providerId="ADAL" clId="{0C5E3143-815D-427B-B8D5-A105FC25ECA7}" dt="2019-04-20T09:16:58.440" v="547" actId="790"/>
          <ac:spMkLst>
            <pc:docMk/>
            <pc:sldMk cId="3863100687" sldId="286"/>
            <ac:spMk id="2" creationId="{B25A7F00-BD8B-4836-8B11-655FCF007576}"/>
          </ac:spMkLst>
        </pc:spChg>
        <pc:spChg chg="mod">
          <ac:chgData name="Thomas Stensitzki" userId="75cafe6b-2f2a-469b-85c4-eec3b9c972ba" providerId="ADAL" clId="{0C5E3143-815D-427B-B8D5-A105FC25ECA7}" dt="2019-04-20T09:15:50.390" v="543" actId="20577"/>
          <ac:spMkLst>
            <pc:docMk/>
            <pc:sldMk cId="3863100687" sldId="286"/>
            <ac:spMk id="3" creationId="{79AEE5B6-C5BD-4D7E-9212-6900527E0ECE}"/>
          </ac:spMkLst>
        </pc:spChg>
        <pc:spChg chg="add mod">
          <ac:chgData name="Thomas Stensitzki" userId="75cafe6b-2f2a-469b-85c4-eec3b9c972ba" providerId="ADAL" clId="{0C5E3143-815D-427B-B8D5-A105FC25ECA7}" dt="2019-04-20T09:20:29.100" v="553" actId="207"/>
          <ac:spMkLst>
            <pc:docMk/>
            <pc:sldMk cId="3863100687" sldId="286"/>
            <ac:spMk id="6" creationId="{57C92167-E203-45A4-A59C-71F6F90ACE7D}"/>
          </ac:spMkLst>
        </pc:spChg>
        <pc:picChg chg="add mod">
          <ac:chgData name="Thomas Stensitzki" userId="75cafe6b-2f2a-469b-85c4-eec3b9c972ba" providerId="ADAL" clId="{0C5E3143-815D-427B-B8D5-A105FC25ECA7}" dt="2019-04-20T09:16:50.981" v="546" actId="1440"/>
          <ac:picMkLst>
            <pc:docMk/>
            <pc:sldMk cId="3863100687" sldId="286"/>
            <ac:picMk id="5" creationId="{A9681C5E-F83B-41AC-B1B3-2C324A2DED37}"/>
          </ac:picMkLst>
        </pc:picChg>
      </pc:sldChg>
      <pc:sldChg chg="delSp modSp add">
        <pc:chgData name="Thomas Stensitzki" userId="75cafe6b-2f2a-469b-85c4-eec3b9c972ba" providerId="ADAL" clId="{0C5E3143-815D-427B-B8D5-A105FC25ECA7}" dt="2019-04-20T09:31:05.298" v="865" actId="478"/>
        <pc:sldMkLst>
          <pc:docMk/>
          <pc:sldMk cId="2805549806" sldId="287"/>
        </pc:sldMkLst>
        <pc:spChg chg="mod">
          <ac:chgData name="Thomas Stensitzki" userId="75cafe6b-2f2a-469b-85c4-eec3b9c972ba" providerId="ADAL" clId="{0C5E3143-815D-427B-B8D5-A105FC25ECA7}" dt="2019-04-20T09:25:46.218" v="715" actId="20577"/>
          <ac:spMkLst>
            <pc:docMk/>
            <pc:sldMk cId="2805549806" sldId="287"/>
            <ac:spMk id="2" creationId="{B25A7F00-BD8B-4836-8B11-655FCF007576}"/>
          </ac:spMkLst>
        </pc:spChg>
        <pc:spChg chg="mod">
          <ac:chgData name="Thomas Stensitzki" userId="75cafe6b-2f2a-469b-85c4-eec3b9c972ba" providerId="ADAL" clId="{0C5E3143-815D-427B-B8D5-A105FC25ECA7}" dt="2019-04-20T09:31:02.657" v="864" actId="207"/>
          <ac:spMkLst>
            <pc:docMk/>
            <pc:sldMk cId="2805549806" sldId="287"/>
            <ac:spMk id="3" creationId="{79AEE5B6-C5BD-4D7E-9212-6900527E0ECE}"/>
          </ac:spMkLst>
        </pc:spChg>
        <pc:spChg chg="del">
          <ac:chgData name="Thomas Stensitzki" userId="75cafe6b-2f2a-469b-85c4-eec3b9c972ba" providerId="ADAL" clId="{0C5E3143-815D-427B-B8D5-A105FC25ECA7}" dt="2019-04-20T09:31:05.298" v="865" actId="478"/>
          <ac:spMkLst>
            <pc:docMk/>
            <pc:sldMk cId="2805549806" sldId="287"/>
            <ac:spMk id="6" creationId="{57C92167-E203-45A4-A59C-71F6F90ACE7D}"/>
          </ac:spMkLst>
        </pc:spChg>
        <pc:picChg chg="del">
          <ac:chgData name="Thomas Stensitzki" userId="75cafe6b-2f2a-469b-85c4-eec3b9c972ba" providerId="ADAL" clId="{0C5E3143-815D-427B-B8D5-A105FC25ECA7}" dt="2019-04-20T09:25:48.391" v="716" actId="478"/>
          <ac:picMkLst>
            <pc:docMk/>
            <pc:sldMk cId="2805549806" sldId="287"/>
            <ac:picMk id="5" creationId="{A9681C5E-F83B-41AC-B1B3-2C324A2DED37}"/>
          </ac:picMkLst>
        </pc:picChg>
        <pc:picChg chg="mod">
          <ac:chgData name="Thomas Stensitzki" userId="75cafe6b-2f2a-469b-85c4-eec3b9c972ba" providerId="ADAL" clId="{0C5E3143-815D-427B-B8D5-A105FC25ECA7}" dt="2019-04-20T09:28:54.672" v="845" actId="1076"/>
          <ac:picMkLst>
            <pc:docMk/>
            <pc:sldMk cId="2805549806" sldId="287"/>
            <ac:picMk id="10" creationId="{489273A7-06E4-4676-99C1-D455725C976A}"/>
          </ac:picMkLst>
        </pc:picChg>
      </pc:sldChg>
      <pc:sldChg chg="modSp add ord">
        <pc:chgData name="Thomas Stensitzki" userId="75cafe6b-2f2a-469b-85c4-eec3b9c972ba" providerId="ADAL" clId="{0C5E3143-815D-427B-B8D5-A105FC25ECA7}" dt="2019-04-20T09:52:17.733" v="994" actId="207"/>
        <pc:sldMkLst>
          <pc:docMk/>
          <pc:sldMk cId="2042252266" sldId="288"/>
        </pc:sldMkLst>
        <pc:spChg chg="mod">
          <ac:chgData name="Thomas Stensitzki" userId="75cafe6b-2f2a-469b-85c4-eec3b9c972ba" providerId="ADAL" clId="{0C5E3143-815D-427B-B8D5-A105FC25ECA7}" dt="2019-04-20T09:44:06.102" v="880" actId="20577"/>
          <ac:spMkLst>
            <pc:docMk/>
            <pc:sldMk cId="2042252266" sldId="288"/>
            <ac:spMk id="2" creationId="{B25A7F00-BD8B-4836-8B11-655FCF007576}"/>
          </ac:spMkLst>
        </pc:spChg>
        <pc:spChg chg="mod">
          <ac:chgData name="Thomas Stensitzki" userId="75cafe6b-2f2a-469b-85c4-eec3b9c972ba" providerId="ADAL" clId="{0C5E3143-815D-427B-B8D5-A105FC25ECA7}" dt="2019-04-20T09:52:17.733" v="994" actId="207"/>
          <ac:spMkLst>
            <pc:docMk/>
            <pc:sldMk cId="2042252266" sldId="288"/>
            <ac:spMk id="3" creationId="{79AEE5B6-C5BD-4D7E-9212-6900527E0ECE}"/>
          </ac:spMkLst>
        </pc:spChg>
      </pc:sldChg>
      <pc:sldChg chg="addSp delSp modSp add">
        <pc:chgData name="Thomas Stensitzki" userId="75cafe6b-2f2a-469b-85c4-eec3b9c972ba" providerId="ADAL" clId="{0C5E3143-815D-427B-B8D5-A105FC25ECA7}" dt="2019-04-20T10:40:34.036" v="1006" actId="1076"/>
        <pc:sldMkLst>
          <pc:docMk/>
          <pc:sldMk cId="2096283439" sldId="289"/>
        </pc:sldMkLst>
        <pc:spChg chg="del">
          <ac:chgData name="Thomas Stensitzki" userId="75cafe6b-2f2a-469b-85c4-eec3b9c972ba" providerId="ADAL" clId="{0C5E3143-815D-427B-B8D5-A105FC25ECA7}" dt="2019-04-20T10:40:17.272" v="999" actId="478"/>
          <ac:spMkLst>
            <pc:docMk/>
            <pc:sldMk cId="2096283439" sldId="289"/>
            <ac:spMk id="2" creationId="{B25A7F00-BD8B-4836-8B11-655FCF007576}"/>
          </ac:spMkLst>
        </pc:spChg>
        <pc:spChg chg="del">
          <ac:chgData name="Thomas Stensitzki" userId="75cafe6b-2f2a-469b-85c4-eec3b9c972ba" providerId="ADAL" clId="{0C5E3143-815D-427B-B8D5-A105FC25ECA7}" dt="2019-04-20T10:40:15.410" v="998" actId="478"/>
          <ac:spMkLst>
            <pc:docMk/>
            <pc:sldMk cId="2096283439" sldId="289"/>
            <ac:spMk id="3" creationId="{79AEE5B6-C5BD-4D7E-9212-6900527E0ECE}"/>
          </ac:spMkLst>
        </pc:spChg>
        <pc:spChg chg="add del mod">
          <ac:chgData name="Thomas Stensitzki" userId="75cafe6b-2f2a-469b-85c4-eec3b9c972ba" providerId="ADAL" clId="{0C5E3143-815D-427B-B8D5-A105FC25ECA7}" dt="2019-04-20T10:40:18.449" v="1000" actId="478"/>
          <ac:spMkLst>
            <pc:docMk/>
            <pc:sldMk cId="2096283439" sldId="289"/>
            <ac:spMk id="6" creationId="{F3EEC125-6496-4562-AC37-8762CA0A4BAF}"/>
          </ac:spMkLst>
        </pc:spChg>
        <pc:spChg chg="add del mod">
          <ac:chgData name="Thomas Stensitzki" userId="75cafe6b-2f2a-469b-85c4-eec3b9c972ba" providerId="ADAL" clId="{0C5E3143-815D-427B-B8D5-A105FC25ECA7}" dt="2019-04-20T10:40:25.922" v="1003" actId="478"/>
          <ac:spMkLst>
            <pc:docMk/>
            <pc:sldMk cId="2096283439" sldId="289"/>
            <ac:spMk id="8" creationId="{D208D021-2923-4987-BFF0-8F388D5DB1CA}"/>
          </ac:spMkLst>
        </pc:spChg>
        <pc:picChg chg="add mod">
          <ac:chgData name="Thomas Stensitzki" userId="75cafe6b-2f2a-469b-85c4-eec3b9c972ba" providerId="ADAL" clId="{0C5E3143-815D-427B-B8D5-A105FC25ECA7}" dt="2019-04-20T10:40:34.036" v="1006" actId="1076"/>
          <ac:picMkLst>
            <pc:docMk/>
            <pc:sldMk cId="2096283439" sldId="289"/>
            <ac:picMk id="9" creationId="{3079898F-A54E-4686-84FE-B77C6DF83F4D}"/>
          </ac:picMkLst>
        </pc:picChg>
        <pc:picChg chg="add del">
          <ac:chgData name="Thomas Stensitzki" userId="75cafe6b-2f2a-469b-85c4-eec3b9c972ba" providerId="ADAL" clId="{0C5E3143-815D-427B-B8D5-A105FC25ECA7}" dt="2019-04-20T10:40:21.369" v="1002" actId="478"/>
          <ac:picMkLst>
            <pc:docMk/>
            <pc:sldMk cId="2096283439" sldId="289"/>
            <ac:picMk id="10" creationId="{489273A7-06E4-4676-99C1-D455725C976A}"/>
          </ac:picMkLst>
        </pc:picChg>
      </pc:sldChg>
    </pc:docChg>
  </pc:docChgLst>
  <pc:docChgLst>
    <pc:chgData name="Thomas Stensitzki" userId="75cafe6b-2f2a-469b-85c4-eec3b9c972ba" providerId="ADAL" clId="{98FDF669-F984-4DE3-BB64-0E769DB1B1E9}"/>
  </pc:docChgLst>
  <pc:docChgLst>
    <pc:chgData name="Thomas Stensitzki" userId="75cafe6b-2f2a-469b-85c4-eec3b9c972ba" providerId="ADAL" clId="{60B276D3-1785-4C57-AFC4-216A8D7624F8}"/>
  </pc:docChgLst>
  <pc:docChgLst>
    <pc:chgData name="Thomas Stensitzki" userId="75cafe6b-2f2a-469b-85c4-eec3b9c972ba" providerId="ADAL" clId="{2D2265D3-8133-4DA2-B8F0-5147610A7C36}"/>
    <pc:docChg chg="undo custSel mod addSld delSld modSld sldOrd modMainMaster addSection delSection modSection">
      <pc:chgData name="Thomas Stensitzki" userId="75cafe6b-2f2a-469b-85c4-eec3b9c972ba" providerId="ADAL" clId="{2D2265D3-8133-4DA2-B8F0-5147610A7C36}" dt="2019-11-27T16:23:56.247" v="1844" actId="2696"/>
      <pc:docMkLst>
        <pc:docMk/>
      </pc:docMkLst>
      <pc:sldChg chg="modSp modTransition">
        <pc:chgData name="Thomas Stensitzki" userId="75cafe6b-2f2a-469b-85c4-eec3b9c972ba" providerId="ADAL" clId="{2D2265D3-8133-4DA2-B8F0-5147610A7C36}" dt="2019-11-24T12:31:20.762" v="726"/>
        <pc:sldMkLst>
          <pc:docMk/>
          <pc:sldMk cId="2233058839" sldId="256"/>
        </pc:sldMkLst>
        <pc:spChg chg="mod">
          <ac:chgData name="Thomas Stensitzki" userId="75cafe6b-2f2a-469b-85c4-eec3b9c972ba" providerId="ADAL" clId="{2D2265D3-8133-4DA2-B8F0-5147610A7C36}" dt="2019-11-24T11:26:04.086" v="7" actId="20577"/>
          <ac:spMkLst>
            <pc:docMk/>
            <pc:sldMk cId="2233058839" sldId="256"/>
            <ac:spMk id="3" creationId="{9CA5EC23-BD0A-406D-A05E-E69B661C942E}"/>
          </ac:spMkLst>
        </pc:spChg>
      </pc:sldChg>
      <pc:sldChg chg="modSp modTransition">
        <pc:chgData name="Thomas Stensitzki" userId="75cafe6b-2f2a-469b-85c4-eec3b9c972ba" providerId="ADAL" clId="{2D2265D3-8133-4DA2-B8F0-5147610A7C36}" dt="2019-11-27T07:56:28.925" v="1799" actId="20577"/>
        <pc:sldMkLst>
          <pc:docMk/>
          <pc:sldMk cId="4001942431" sldId="260"/>
        </pc:sldMkLst>
        <pc:spChg chg="mod">
          <ac:chgData name="Thomas Stensitzki" userId="75cafe6b-2f2a-469b-85c4-eec3b9c972ba" providerId="ADAL" clId="{2D2265D3-8133-4DA2-B8F0-5147610A7C36}" dt="2019-11-27T07:56:28.925" v="1799" actId="20577"/>
          <ac:spMkLst>
            <pc:docMk/>
            <pc:sldMk cId="4001942431" sldId="260"/>
            <ac:spMk id="13" creationId="{6719C9E2-2CF2-44DE-9BB9-39339E0CAEDB}"/>
          </ac:spMkLst>
        </pc:spChg>
      </pc:sldChg>
      <pc:sldChg chg="modSp modTransition">
        <pc:chgData name="Thomas Stensitzki" userId="75cafe6b-2f2a-469b-85c4-eec3b9c972ba" providerId="ADAL" clId="{2D2265D3-8133-4DA2-B8F0-5147610A7C36}" dt="2019-11-27T16:23:38.909" v="1843" actId="20577"/>
        <pc:sldMkLst>
          <pc:docMk/>
          <pc:sldMk cId="165204413" sldId="261"/>
        </pc:sldMkLst>
        <pc:spChg chg="mod">
          <ac:chgData name="Thomas Stensitzki" userId="75cafe6b-2f2a-469b-85c4-eec3b9c972ba" providerId="ADAL" clId="{2D2265D3-8133-4DA2-B8F0-5147610A7C36}" dt="2019-11-27T16:23:38.909" v="1843" actId="20577"/>
          <ac:spMkLst>
            <pc:docMk/>
            <pc:sldMk cId="165204413" sldId="261"/>
            <ac:spMk id="4" creationId="{68008D52-F382-4F98-896B-9B9599258C92}"/>
          </ac:spMkLst>
        </pc:spChg>
        <pc:picChg chg="mod">
          <ac:chgData name="Thomas Stensitzki" userId="75cafe6b-2f2a-469b-85c4-eec3b9c972ba" providerId="ADAL" clId="{2D2265D3-8133-4DA2-B8F0-5147610A7C36}" dt="2019-11-24T11:52:16.451" v="266" actId="1076"/>
          <ac:picMkLst>
            <pc:docMk/>
            <pc:sldMk cId="165204413" sldId="261"/>
            <ac:picMk id="10" creationId="{489273A7-06E4-4676-99C1-D455725C976A}"/>
          </ac:picMkLst>
        </pc:picChg>
      </pc:sldChg>
      <pc:sldChg chg="modSp modTransition">
        <pc:chgData name="Thomas Stensitzki" userId="75cafe6b-2f2a-469b-85c4-eec3b9c972ba" providerId="ADAL" clId="{2D2265D3-8133-4DA2-B8F0-5147610A7C36}" dt="2019-11-24T12:55:28.620" v="1363" actId="20577"/>
        <pc:sldMkLst>
          <pc:docMk/>
          <pc:sldMk cId="4181224096" sldId="263"/>
        </pc:sldMkLst>
        <pc:spChg chg="mod">
          <ac:chgData name="Thomas Stensitzki" userId="75cafe6b-2f2a-469b-85c4-eec3b9c972ba" providerId="ADAL" clId="{2D2265D3-8133-4DA2-B8F0-5147610A7C36}" dt="2019-11-24T12:55:28.620" v="1363" actId="20577"/>
          <ac:spMkLst>
            <pc:docMk/>
            <pc:sldMk cId="4181224096" sldId="263"/>
            <ac:spMk id="7" creationId="{9E492FC5-DCC4-4751-89B7-2E7186B361D1}"/>
          </ac:spMkLst>
        </pc:spChg>
        <pc:picChg chg="mod">
          <ac:chgData name="Thomas Stensitzki" userId="75cafe6b-2f2a-469b-85c4-eec3b9c972ba" providerId="ADAL" clId="{2D2265D3-8133-4DA2-B8F0-5147610A7C36}" dt="2019-11-24T11:37:02.977" v="45" actId="1076"/>
          <ac:picMkLst>
            <pc:docMk/>
            <pc:sldMk cId="4181224096" sldId="263"/>
            <ac:picMk id="10" creationId="{489273A7-06E4-4676-99C1-D455725C976A}"/>
          </ac:picMkLst>
        </pc:picChg>
      </pc:sldChg>
      <pc:sldChg chg="modSp modTransition">
        <pc:chgData name="Thomas Stensitzki" userId="75cafe6b-2f2a-469b-85c4-eec3b9c972ba" providerId="ADAL" clId="{2D2265D3-8133-4DA2-B8F0-5147610A7C36}" dt="2019-11-24T12:31:20.762" v="726"/>
        <pc:sldMkLst>
          <pc:docMk/>
          <pc:sldMk cId="3056444349" sldId="265"/>
        </pc:sldMkLst>
        <pc:spChg chg="mod">
          <ac:chgData name="Thomas Stensitzki" userId="75cafe6b-2f2a-469b-85c4-eec3b9c972ba" providerId="ADAL" clId="{2D2265D3-8133-4DA2-B8F0-5147610A7C36}" dt="2019-11-24T11:38:33.250" v="49" actId="20577"/>
          <ac:spMkLst>
            <pc:docMk/>
            <pc:sldMk cId="3056444349" sldId="265"/>
            <ac:spMk id="2" creationId="{67872E48-A59A-4E07-BC6E-6244BE730E18}"/>
          </ac:spMkLst>
        </pc:spChg>
      </pc:sldChg>
      <pc:sldChg chg="del modTransition">
        <pc:chgData name="Thomas Stensitzki" userId="75cafe6b-2f2a-469b-85c4-eec3b9c972ba" providerId="ADAL" clId="{2D2265D3-8133-4DA2-B8F0-5147610A7C36}" dt="2019-11-27T16:23:56.247" v="1844" actId="2696"/>
        <pc:sldMkLst>
          <pc:docMk/>
          <pc:sldMk cId="1364316361" sldId="266"/>
        </pc:sldMkLst>
      </pc:sldChg>
      <pc:sldChg chg="modTransition">
        <pc:chgData name="Thomas Stensitzki" userId="75cafe6b-2f2a-469b-85c4-eec3b9c972ba" providerId="ADAL" clId="{2D2265D3-8133-4DA2-B8F0-5147610A7C36}" dt="2019-11-24T12:31:20.762" v="726"/>
        <pc:sldMkLst>
          <pc:docMk/>
          <pc:sldMk cId="3686140281" sldId="267"/>
        </pc:sldMkLst>
      </pc:sldChg>
      <pc:sldChg chg="modTransition">
        <pc:chgData name="Thomas Stensitzki" userId="75cafe6b-2f2a-469b-85c4-eec3b9c972ba" providerId="ADAL" clId="{2D2265D3-8133-4DA2-B8F0-5147610A7C36}" dt="2019-11-24T12:31:20.762" v="726"/>
        <pc:sldMkLst>
          <pc:docMk/>
          <pc:sldMk cId="1344049148" sldId="268"/>
        </pc:sldMkLst>
      </pc:sldChg>
      <pc:sldChg chg="modTransition">
        <pc:chgData name="Thomas Stensitzki" userId="75cafe6b-2f2a-469b-85c4-eec3b9c972ba" providerId="ADAL" clId="{2D2265D3-8133-4DA2-B8F0-5147610A7C36}" dt="2019-11-24T12:31:20.762" v="726"/>
        <pc:sldMkLst>
          <pc:docMk/>
          <pc:sldMk cId="1760281676" sldId="269"/>
        </pc:sldMkLst>
      </pc:sldChg>
      <pc:sldChg chg="addSp delSp modSp modTransition">
        <pc:chgData name="Thomas Stensitzki" userId="75cafe6b-2f2a-469b-85c4-eec3b9c972ba" providerId="ADAL" clId="{2D2265D3-8133-4DA2-B8F0-5147610A7C36}" dt="2019-11-27T16:23:10.014" v="1839" actId="1076"/>
        <pc:sldMkLst>
          <pc:docMk/>
          <pc:sldMk cId="3508810742" sldId="271"/>
        </pc:sldMkLst>
        <pc:picChg chg="add mod modCrop">
          <ac:chgData name="Thomas Stensitzki" userId="75cafe6b-2f2a-469b-85c4-eec3b9c972ba" providerId="ADAL" clId="{2D2265D3-8133-4DA2-B8F0-5147610A7C36}" dt="2019-11-27T16:23:10.014" v="1839" actId="1076"/>
          <ac:picMkLst>
            <pc:docMk/>
            <pc:sldMk cId="3508810742" sldId="271"/>
            <ac:picMk id="2" creationId="{9EE6D2AF-0E92-4594-A43C-FEFA15CFF9CA}"/>
          </ac:picMkLst>
        </pc:picChg>
        <pc:picChg chg="del">
          <ac:chgData name="Thomas Stensitzki" userId="75cafe6b-2f2a-469b-85c4-eec3b9c972ba" providerId="ADAL" clId="{2D2265D3-8133-4DA2-B8F0-5147610A7C36}" dt="2019-11-24T11:26:08.254" v="8" actId="478"/>
          <ac:picMkLst>
            <pc:docMk/>
            <pc:sldMk cId="3508810742" sldId="271"/>
            <ac:picMk id="5" creationId="{B83008BD-AF07-4AB2-98C9-0667DEBFF0E4}"/>
          </ac:picMkLst>
        </pc:picChg>
        <pc:picChg chg="mod">
          <ac:chgData name="Thomas Stensitzki" userId="75cafe6b-2f2a-469b-85c4-eec3b9c972ba" providerId="ADAL" clId="{2D2265D3-8133-4DA2-B8F0-5147610A7C36}" dt="2019-11-24T12:26:17.788" v="715" actId="1076"/>
          <ac:picMkLst>
            <pc:docMk/>
            <pc:sldMk cId="3508810742" sldId="271"/>
            <ac:picMk id="10" creationId="{489273A7-06E4-4676-99C1-D455725C976A}"/>
          </ac:picMkLst>
        </pc:picChg>
      </pc:sldChg>
      <pc:sldChg chg="modTransition">
        <pc:chgData name="Thomas Stensitzki" userId="75cafe6b-2f2a-469b-85c4-eec3b9c972ba" providerId="ADAL" clId="{2D2265D3-8133-4DA2-B8F0-5147610A7C36}" dt="2019-11-24T12:31:20.762" v="726"/>
        <pc:sldMkLst>
          <pc:docMk/>
          <pc:sldMk cId="3670118464" sldId="275"/>
        </pc:sldMkLst>
      </pc:sldChg>
      <pc:sldChg chg="modSp modTransition">
        <pc:chgData name="Thomas Stensitzki" userId="75cafe6b-2f2a-469b-85c4-eec3b9c972ba" providerId="ADAL" clId="{2D2265D3-8133-4DA2-B8F0-5147610A7C36}" dt="2019-11-24T12:31:20.762" v="726"/>
        <pc:sldMkLst>
          <pc:docMk/>
          <pc:sldMk cId="1952550372" sldId="277"/>
        </pc:sldMkLst>
        <pc:spChg chg="mod">
          <ac:chgData name="Thomas Stensitzki" userId="75cafe6b-2f2a-469b-85c4-eec3b9c972ba" providerId="ADAL" clId="{2D2265D3-8133-4DA2-B8F0-5147610A7C36}" dt="2019-11-24T11:40:11.286" v="69" actId="20577"/>
          <ac:spMkLst>
            <pc:docMk/>
            <pc:sldMk cId="1952550372" sldId="277"/>
            <ac:spMk id="4" creationId="{68008D52-F382-4F98-896B-9B9599258C92}"/>
          </ac:spMkLst>
        </pc:spChg>
      </pc:sldChg>
      <pc:sldChg chg="del">
        <pc:chgData name="Thomas Stensitzki" userId="75cafe6b-2f2a-469b-85c4-eec3b9c972ba" providerId="ADAL" clId="{2D2265D3-8133-4DA2-B8F0-5147610A7C36}" dt="2019-11-24T11:33:46.522" v="28" actId="47"/>
        <pc:sldMkLst>
          <pc:docMk/>
          <pc:sldMk cId="3237114054" sldId="284"/>
        </pc:sldMkLst>
      </pc:sldChg>
      <pc:sldChg chg="del">
        <pc:chgData name="Thomas Stensitzki" userId="75cafe6b-2f2a-469b-85c4-eec3b9c972ba" providerId="ADAL" clId="{2D2265D3-8133-4DA2-B8F0-5147610A7C36}" dt="2019-11-24T11:33:46.522" v="28" actId="47"/>
        <pc:sldMkLst>
          <pc:docMk/>
          <pc:sldMk cId="3863100687" sldId="286"/>
        </pc:sldMkLst>
      </pc:sldChg>
      <pc:sldChg chg="del">
        <pc:chgData name="Thomas Stensitzki" userId="75cafe6b-2f2a-469b-85c4-eec3b9c972ba" providerId="ADAL" clId="{2D2265D3-8133-4DA2-B8F0-5147610A7C36}" dt="2019-11-24T11:33:46.522" v="28" actId="47"/>
        <pc:sldMkLst>
          <pc:docMk/>
          <pc:sldMk cId="2805549806" sldId="287"/>
        </pc:sldMkLst>
      </pc:sldChg>
      <pc:sldChg chg="del">
        <pc:chgData name="Thomas Stensitzki" userId="75cafe6b-2f2a-469b-85c4-eec3b9c972ba" providerId="ADAL" clId="{2D2265D3-8133-4DA2-B8F0-5147610A7C36}" dt="2019-11-24T11:33:46.522" v="28" actId="47"/>
        <pc:sldMkLst>
          <pc:docMk/>
          <pc:sldMk cId="2042252266" sldId="288"/>
        </pc:sldMkLst>
      </pc:sldChg>
      <pc:sldChg chg="del">
        <pc:chgData name="Thomas Stensitzki" userId="75cafe6b-2f2a-469b-85c4-eec3b9c972ba" providerId="ADAL" clId="{2D2265D3-8133-4DA2-B8F0-5147610A7C36}" dt="2019-11-24T11:33:46.522" v="28" actId="47"/>
        <pc:sldMkLst>
          <pc:docMk/>
          <pc:sldMk cId="2096283439" sldId="289"/>
        </pc:sldMkLst>
      </pc:sldChg>
      <pc:sldChg chg="del">
        <pc:chgData name="Thomas Stensitzki" userId="75cafe6b-2f2a-469b-85c4-eec3b9c972ba" providerId="ADAL" clId="{2D2265D3-8133-4DA2-B8F0-5147610A7C36}" dt="2019-11-24T11:33:46.522" v="28" actId="47"/>
        <pc:sldMkLst>
          <pc:docMk/>
          <pc:sldMk cId="1857995394" sldId="290"/>
        </pc:sldMkLst>
      </pc:sldChg>
      <pc:sldChg chg="modSp modTransition">
        <pc:chgData name="Thomas Stensitzki" userId="75cafe6b-2f2a-469b-85c4-eec3b9c972ba" providerId="ADAL" clId="{2D2265D3-8133-4DA2-B8F0-5147610A7C36}" dt="2019-11-24T12:31:20.762" v="726"/>
        <pc:sldMkLst>
          <pc:docMk/>
          <pc:sldMk cId="958923479" sldId="291"/>
        </pc:sldMkLst>
        <pc:spChg chg="mod">
          <ac:chgData name="Thomas Stensitzki" userId="75cafe6b-2f2a-469b-85c4-eec3b9c972ba" providerId="ADAL" clId="{2D2265D3-8133-4DA2-B8F0-5147610A7C36}" dt="2019-11-24T12:08:14.113" v="423" actId="14100"/>
          <ac:spMkLst>
            <pc:docMk/>
            <pc:sldMk cId="958923479" sldId="291"/>
            <ac:spMk id="4" creationId="{68008D52-F382-4F98-896B-9B9599258C92}"/>
          </ac:spMkLst>
        </pc:spChg>
        <pc:picChg chg="mod">
          <ac:chgData name="Thomas Stensitzki" userId="75cafe6b-2f2a-469b-85c4-eec3b9c972ba" providerId="ADAL" clId="{2D2265D3-8133-4DA2-B8F0-5147610A7C36}" dt="2019-11-24T12:07:47.699" v="410" actId="1076"/>
          <ac:picMkLst>
            <pc:docMk/>
            <pc:sldMk cId="958923479" sldId="291"/>
            <ac:picMk id="10" creationId="{489273A7-06E4-4676-99C1-D455725C976A}"/>
          </ac:picMkLst>
        </pc:picChg>
      </pc:sldChg>
      <pc:sldChg chg="ord modTransition">
        <pc:chgData name="Thomas Stensitzki" userId="75cafe6b-2f2a-469b-85c4-eec3b9c972ba" providerId="ADAL" clId="{2D2265D3-8133-4DA2-B8F0-5147610A7C36}" dt="2019-11-24T12:52:56.447" v="1268"/>
        <pc:sldMkLst>
          <pc:docMk/>
          <pc:sldMk cId="1908379705" sldId="292"/>
        </pc:sldMkLst>
      </pc:sldChg>
      <pc:sldChg chg="addSp modSp add modTransition modAnim">
        <pc:chgData name="Thomas Stensitzki" userId="75cafe6b-2f2a-469b-85c4-eec3b9c972ba" providerId="ADAL" clId="{2D2265D3-8133-4DA2-B8F0-5147610A7C36}" dt="2019-11-24T13:01:07.293" v="1580" actId="1076"/>
        <pc:sldMkLst>
          <pc:docMk/>
          <pc:sldMk cId="699400004" sldId="293"/>
        </pc:sldMkLst>
        <pc:spChg chg="mod">
          <ac:chgData name="Thomas Stensitzki" userId="75cafe6b-2f2a-469b-85c4-eec3b9c972ba" providerId="ADAL" clId="{2D2265D3-8133-4DA2-B8F0-5147610A7C36}" dt="2019-11-24T13:01:02.804" v="1578" actId="20577"/>
          <ac:spMkLst>
            <pc:docMk/>
            <pc:sldMk cId="699400004" sldId="293"/>
            <ac:spMk id="4" creationId="{68008D52-F382-4F98-896B-9B9599258C92}"/>
          </ac:spMkLst>
        </pc:spChg>
        <pc:picChg chg="add mod">
          <ac:chgData name="Thomas Stensitzki" userId="75cafe6b-2f2a-469b-85c4-eec3b9c972ba" providerId="ADAL" clId="{2D2265D3-8133-4DA2-B8F0-5147610A7C36}" dt="2019-11-24T13:00:32.154" v="1577" actId="14100"/>
          <ac:picMkLst>
            <pc:docMk/>
            <pc:sldMk cId="699400004" sldId="293"/>
            <ac:picMk id="2" creationId="{9301B7FA-0B26-400B-8E22-BC29930BDB42}"/>
          </ac:picMkLst>
        </pc:picChg>
        <pc:picChg chg="mod">
          <ac:chgData name="Thomas Stensitzki" userId="75cafe6b-2f2a-469b-85c4-eec3b9c972ba" providerId="ADAL" clId="{2D2265D3-8133-4DA2-B8F0-5147610A7C36}" dt="2019-11-24T13:01:07.293" v="1580" actId="1076"/>
          <ac:picMkLst>
            <pc:docMk/>
            <pc:sldMk cId="699400004" sldId="293"/>
            <ac:picMk id="10" creationId="{489273A7-06E4-4676-99C1-D455725C976A}"/>
          </ac:picMkLst>
        </pc:picChg>
      </pc:sldChg>
      <pc:sldChg chg="addSp delSp add del setBg delDesignElem">
        <pc:chgData name="Thomas Stensitzki" userId="75cafe6b-2f2a-469b-85c4-eec3b9c972ba" providerId="ADAL" clId="{2D2265D3-8133-4DA2-B8F0-5147610A7C36}" dt="2019-11-24T11:40:50.437" v="105"/>
        <pc:sldMkLst>
          <pc:docMk/>
          <pc:sldMk cId="1205695210" sldId="293"/>
        </pc:sldMkLst>
        <pc:spChg chg="add del">
          <ac:chgData name="Thomas Stensitzki" userId="75cafe6b-2f2a-469b-85c4-eec3b9c972ba" providerId="ADAL" clId="{2D2265D3-8133-4DA2-B8F0-5147610A7C36}" dt="2019-11-24T11:40:50.437" v="105"/>
          <ac:spMkLst>
            <pc:docMk/>
            <pc:sldMk cId="1205695210" sldId="293"/>
            <ac:spMk id="23" creationId="{86C7B4A1-154A-4DF0-AC46-F88D75A2E0FD}"/>
          </ac:spMkLst>
        </pc:spChg>
      </pc:sldChg>
      <pc:sldChg chg="addSp delSp add del setBg delDesignElem">
        <pc:chgData name="Thomas Stensitzki" userId="75cafe6b-2f2a-469b-85c4-eec3b9c972ba" providerId="ADAL" clId="{2D2265D3-8133-4DA2-B8F0-5147610A7C36}" dt="2019-11-24T11:35:11.998" v="31"/>
        <pc:sldMkLst>
          <pc:docMk/>
          <pc:sldMk cId="3595660195" sldId="293"/>
        </pc:sldMkLst>
        <pc:spChg chg="add del">
          <ac:chgData name="Thomas Stensitzki" userId="75cafe6b-2f2a-469b-85c4-eec3b9c972ba" providerId="ADAL" clId="{2D2265D3-8133-4DA2-B8F0-5147610A7C36}" dt="2019-11-24T11:35:11.998" v="31"/>
          <ac:spMkLst>
            <pc:docMk/>
            <pc:sldMk cId="3595660195" sldId="293"/>
            <ac:spMk id="23" creationId="{86C7B4A1-154A-4DF0-AC46-F88D75A2E0FD}"/>
          </ac:spMkLst>
        </pc:spChg>
      </pc:sldChg>
      <pc:sldChg chg="add del">
        <pc:chgData name="Thomas Stensitzki" userId="75cafe6b-2f2a-469b-85c4-eec3b9c972ba" providerId="ADAL" clId="{2D2265D3-8133-4DA2-B8F0-5147610A7C36}" dt="2019-11-24T11:46:49.381" v="237" actId="47"/>
        <pc:sldMkLst>
          <pc:docMk/>
          <pc:sldMk cId="4128331774" sldId="294"/>
        </pc:sldMkLst>
      </pc:sldChg>
      <pc:sldChg chg="modSp add del ord modTransition">
        <pc:chgData name="Thomas Stensitzki" userId="75cafe6b-2f2a-469b-85c4-eec3b9c972ba" providerId="ADAL" clId="{2D2265D3-8133-4DA2-B8F0-5147610A7C36}" dt="2019-11-27T13:17:14.166" v="1808" actId="2696"/>
        <pc:sldMkLst>
          <pc:docMk/>
          <pc:sldMk cId="2393570370" sldId="295"/>
        </pc:sldMkLst>
        <pc:spChg chg="mod">
          <ac:chgData name="Thomas Stensitzki" userId="75cafe6b-2f2a-469b-85c4-eec3b9c972ba" providerId="ADAL" clId="{2D2265D3-8133-4DA2-B8F0-5147610A7C36}" dt="2019-11-27T13:16:49.136" v="1804" actId="20577"/>
          <ac:spMkLst>
            <pc:docMk/>
            <pc:sldMk cId="2393570370" sldId="295"/>
            <ac:spMk id="4" creationId="{68008D52-F382-4F98-896B-9B9599258C92}"/>
          </ac:spMkLst>
        </pc:spChg>
      </pc:sldChg>
      <pc:sldChg chg="add del">
        <pc:chgData name="Thomas Stensitzki" userId="75cafe6b-2f2a-469b-85c4-eec3b9c972ba" providerId="ADAL" clId="{2D2265D3-8133-4DA2-B8F0-5147610A7C36}" dt="2019-11-24T11:46:27.567" v="208" actId="2696"/>
        <pc:sldMkLst>
          <pc:docMk/>
          <pc:sldMk cId="1828782298" sldId="296"/>
        </pc:sldMkLst>
      </pc:sldChg>
      <pc:sldChg chg="addSp delSp modSp add modTransition">
        <pc:chgData name="Thomas Stensitzki" userId="75cafe6b-2f2a-469b-85c4-eec3b9c972ba" providerId="ADAL" clId="{2D2265D3-8133-4DA2-B8F0-5147610A7C36}" dt="2019-11-24T12:31:20.762" v="726"/>
        <pc:sldMkLst>
          <pc:docMk/>
          <pc:sldMk cId="4114320317" sldId="296"/>
        </pc:sldMkLst>
        <pc:spChg chg="add del">
          <ac:chgData name="Thomas Stensitzki" userId="75cafe6b-2f2a-469b-85c4-eec3b9c972ba" providerId="ADAL" clId="{2D2265D3-8133-4DA2-B8F0-5147610A7C36}" dt="2019-11-24T11:49:14.651" v="243"/>
          <ac:spMkLst>
            <pc:docMk/>
            <pc:sldMk cId="4114320317" sldId="296"/>
            <ac:spMk id="2" creationId="{20879049-D3AC-4C38-AB66-21D5670A1A0C}"/>
          </ac:spMkLst>
        </pc:spChg>
        <pc:spChg chg="mod">
          <ac:chgData name="Thomas Stensitzki" userId="75cafe6b-2f2a-469b-85c4-eec3b9c972ba" providerId="ADAL" clId="{2D2265D3-8133-4DA2-B8F0-5147610A7C36}" dt="2019-11-24T12:06:45.650" v="399" actId="108"/>
          <ac:spMkLst>
            <pc:docMk/>
            <pc:sldMk cId="4114320317" sldId="296"/>
            <ac:spMk id="4" creationId="{68008D52-F382-4F98-896B-9B9599258C92}"/>
          </ac:spMkLst>
        </pc:spChg>
        <pc:picChg chg="mod">
          <ac:chgData name="Thomas Stensitzki" userId="75cafe6b-2f2a-469b-85c4-eec3b9c972ba" providerId="ADAL" clId="{2D2265D3-8133-4DA2-B8F0-5147610A7C36}" dt="2019-11-24T12:06:51.739" v="401" actId="1076"/>
          <ac:picMkLst>
            <pc:docMk/>
            <pc:sldMk cId="4114320317" sldId="296"/>
            <ac:picMk id="10" creationId="{489273A7-06E4-4676-99C1-D455725C976A}"/>
          </ac:picMkLst>
        </pc:picChg>
      </pc:sldChg>
      <pc:sldChg chg="modSp add del modTransition">
        <pc:chgData name="Thomas Stensitzki" userId="75cafe6b-2f2a-469b-85c4-eec3b9c972ba" providerId="ADAL" clId="{2D2265D3-8133-4DA2-B8F0-5147610A7C36}" dt="2019-11-27T07:05:12.450" v="1742" actId="20577"/>
        <pc:sldMkLst>
          <pc:docMk/>
          <pc:sldMk cId="1266566926" sldId="297"/>
        </pc:sldMkLst>
        <pc:spChg chg="mod">
          <ac:chgData name="Thomas Stensitzki" userId="75cafe6b-2f2a-469b-85c4-eec3b9c972ba" providerId="ADAL" clId="{2D2265D3-8133-4DA2-B8F0-5147610A7C36}" dt="2019-11-27T07:05:12.450" v="1742" actId="20577"/>
          <ac:spMkLst>
            <pc:docMk/>
            <pc:sldMk cId="1266566926" sldId="297"/>
            <ac:spMk id="4" creationId="{68008D52-F382-4F98-896B-9B9599258C92}"/>
          </ac:spMkLst>
        </pc:spChg>
        <pc:picChg chg="mod">
          <ac:chgData name="Thomas Stensitzki" userId="75cafe6b-2f2a-469b-85c4-eec3b9c972ba" providerId="ADAL" clId="{2D2265D3-8133-4DA2-B8F0-5147610A7C36}" dt="2019-11-24T12:22:14.966" v="692" actId="1076"/>
          <ac:picMkLst>
            <pc:docMk/>
            <pc:sldMk cId="1266566926" sldId="297"/>
            <ac:picMk id="10" creationId="{489273A7-06E4-4676-99C1-D455725C976A}"/>
          </ac:picMkLst>
        </pc:picChg>
      </pc:sldChg>
      <pc:sldChg chg="addSp delSp modSp add mod modTransition setBg">
        <pc:chgData name="Thomas Stensitzki" userId="75cafe6b-2f2a-469b-85c4-eec3b9c972ba" providerId="ADAL" clId="{2D2265D3-8133-4DA2-B8F0-5147610A7C36}" dt="2019-11-24T12:32:38.666" v="730" actId="478"/>
        <pc:sldMkLst>
          <pc:docMk/>
          <pc:sldMk cId="1602775726" sldId="298"/>
        </pc:sldMkLst>
        <pc:spChg chg="del">
          <ac:chgData name="Thomas Stensitzki" userId="75cafe6b-2f2a-469b-85c4-eec3b9c972ba" providerId="ADAL" clId="{2D2265D3-8133-4DA2-B8F0-5147610A7C36}" dt="2019-11-24T12:08:41.268" v="426" actId="478"/>
          <ac:spMkLst>
            <pc:docMk/>
            <pc:sldMk cId="1602775726" sldId="298"/>
            <ac:spMk id="2" creationId="{DB654E02-EBDC-441F-BFF4-DB66D994DBFC}"/>
          </ac:spMkLst>
        </pc:spChg>
        <pc:spChg chg="del">
          <ac:chgData name="Thomas Stensitzki" userId="75cafe6b-2f2a-469b-85c4-eec3b9c972ba" providerId="ADAL" clId="{2D2265D3-8133-4DA2-B8F0-5147610A7C36}" dt="2019-11-24T12:08:34.631" v="425" actId="478"/>
          <ac:spMkLst>
            <pc:docMk/>
            <pc:sldMk cId="1602775726" sldId="298"/>
            <ac:spMk id="3" creationId="{3D05E982-42FD-4BC7-98EB-8979E7F07805}"/>
          </ac:spMkLst>
        </pc:spChg>
        <pc:spChg chg="add del">
          <ac:chgData name="Thomas Stensitzki" userId="75cafe6b-2f2a-469b-85c4-eec3b9c972ba" providerId="ADAL" clId="{2D2265D3-8133-4DA2-B8F0-5147610A7C36}" dt="2019-11-24T12:30:39.107" v="724" actId="26606"/>
          <ac:spMkLst>
            <pc:docMk/>
            <pc:sldMk cId="1602775726" sldId="298"/>
            <ac:spMk id="10" creationId="{673E9FC8-2143-48A2-9DEE-AABBC7E301A8}"/>
          </ac:spMkLst>
        </pc:spChg>
        <pc:spChg chg="add">
          <ac:chgData name="Thomas Stensitzki" userId="75cafe6b-2f2a-469b-85c4-eec3b9c972ba" providerId="ADAL" clId="{2D2265D3-8133-4DA2-B8F0-5147610A7C36}" dt="2019-11-24T12:30:39.122" v="725" actId="26606"/>
          <ac:spMkLst>
            <pc:docMk/>
            <pc:sldMk cId="1602775726" sldId="298"/>
            <ac:spMk id="12" creationId="{C8417673-F529-49EC-8402-EC8515FAD3D3}"/>
          </ac:spMkLst>
        </pc:spChg>
        <pc:picChg chg="add mod">
          <ac:chgData name="Thomas Stensitzki" userId="75cafe6b-2f2a-469b-85c4-eec3b9c972ba" providerId="ADAL" clId="{2D2265D3-8133-4DA2-B8F0-5147610A7C36}" dt="2019-11-24T12:30:39.122" v="725" actId="26606"/>
          <ac:picMkLst>
            <pc:docMk/>
            <pc:sldMk cId="1602775726" sldId="298"/>
            <ac:picMk id="5" creationId="{9FB0387A-D59B-4DA5-9E22-3B98BC2F8A7C}"/>
          </ac:picMkLst>
        </pc:picChg>
        <pc:picChg chg="add del mod">
          <ac:chgData name="Thomas Stensitzki" userId="75cafe6b-2f2a-469b-85c4-eec3b9c972ba" providerId="ADAL" clId="{2D2265D3-8133-4DA2-B8F0-5147610A7C36}" dt="2019-11-24T12:32:38.666" v="730" actId="478"/>
          <ac:picMkLst>
            <pc:docMk/>
            <pc:sldMk cId="1602775726" sldId="298"/>
            <ac:picMk id="7" creationId="{763DBCE0-9DE7-45CA-9133-8F4E02D87593}"/>
          </ac:picMkLst>
        </pc:picChg>
      </pc:sldChg>
      <pc:sldChg chg="addSp modSp add modTransition">
        <pc:chgData name="Thomas Stensitzki" userId="75cafe6b-2f2a-469b-85c4-eec3b9c972ba" providerId="ADAL" clId="{2D2265D3-8133-4DA2-B8F0-5147610A7C36}" dt="2019-11-24T12:31:20.762" v="726"/>
        <pc:sldMkLst>
          <pc:docMk/>
          <pc:sldMk cId="1346532392" sldId="299"/>
        </pc:sldMkLst>
        <pc:spChg chg="mod">
          <ac:chgData name="Thomas Stensitzki" userId="75cafe6b-2f2a-469b-85c4-eec3b9c972ba" providerId="ADAL" clId="{2D2265D3-8133-4DA2-B8F0-5147610A7C36}" dt="2019-11-24T12:15:47.168" v="688" actId="121"/>
          <ac:spMkLst>
            <pc:docMk/>
            <pc:sldMk cId="1346532392" sldId="299"/>
            <ac:spMk id="4" creationId="{68008D52-F382-4F98-896B-9B9599258C92}"/>
          </ac:spMkLst>
        </pc:spChg>
        <pc:picChg chg="add mod">
          <ac:chgData name="Thomas Stensitzki" userId="75cafe6b-2f2a-469b-85c4-eec3b9c972ba" providerId="ADAL" clId="{2D2265D3-8133-4DA2-B8F0-5147610A7C36}" dt="2019-11-24T12:15:10.575" v="651" actId="1076"/>
          <ac:picMkLst>
            <pc:docMk/>
            <pc:sldMk cId="1346532392" sldId="299"/>
            <ac:picMk id="3" creationId="{8085647A-12A5-4E78-86D2-FB39BAD75DD4}"/>
          </ac:picMkLst>
        </pc:picChg>
        <pc:picChg chg="mod">
          <ac:chgData name="Thomas Stensitzki" userId="75cafe6b-2f2a-469b-85c4-eec3b9c972ba" providerId="ADAL" clId="{2D2265D3-8133-4DA2-B8F0-5147610A7C36}" dt="2019-11-24T12:15:54.219" v="690" actId="1076"/>
          <ac:picMkLst>
            <pc:docMk/>
            <pc:sldMk cId="1346532392" sldId="299"/>
            <ac:picMk id="10" creationId="{489273A7-06E4-4676-99C1-D455725C976A}"/>
          </ac:picMkLst>
        </pc:picChg>
      </pc:sldChg>
      <pc:sldChg chg="addSp delSp modSp add mod setBg modAnim">
        <pc:chgData name="Thomas Stensitzki" userId="75cafe6b-2f2a-469b-85c4-eec3b9c972ba" providerId="ADAL" clId="{2D2265D3-8133-4DA2-B8F0-5147610A7C36}" dt="2019-11-24T12:36:30.260" v="755"/>
        <pc:sldMkLst>
          <pc:docMk/>
          <pc:sldMk cId="2384640004" sldId="300"/>
        </pc:sldMkLst>
        <pc:spChg chg="del">
          <ac:chgData name="Thomas Stensitzki" userId="75cafe6b-2f2a-469b-85c4-eec3b9c972ba" providerId="ADAL" clId="{2D2265D3-8133-4DA2-B8F0-5147610A7C36}" dt="2019-11-24T12:33:30.633" v="735" actId="26606"/>
          <ac:spMkLst>
            <pc:docMk/>
            <pc:sldMk cId="2384640004" sldId="300"/>
            <ac:spMk id="12" creationId="{C8417673-F529-49EC-8402-EC8515FAD3D3}"/>
          </ac:spMkLst>
        </pc:spChg>
        <pc:spChg chg="add del">
          <ac:chgData name="Thomas Stensitzki" userId="75cafe6b-2f2a-469b-85c4-eec3b9c972ba" providerId="ADAL" clId="{2D2265D3-8133-4DA2-B8F0-5147610A7C36}" dt="2019-11-24T12:34:24.263" v="741" actId="26606"/>
          <ac:spMkLst>
            <pc:docMk/>
            <pc:sldMk cId="2384640004" sldId="300"/>
            <ac:spMk id="17" creationId="{E9DCA5EA-C9F1-43F7-8CD9-E7D77919EBE7}"/>
          </ac:spMkLst>
        </pc:spChg>
        <pc:spChg chg="add del">
          <ac:chgData name="Thomas Stensitzki" userId="75cafe6b-2f2a-469b-85c4-eec3b9c972ba" providerId="ADAL" clId="{2D2265D3-8133-4DA2-B8F0-5147610A7C36}" dt="2019-11-24T12:34:24.254" v="740" actId="26606"/>
          <ac:spMkLst>
            <pc:docMk/>
            <pc:sldMk cId="2384640004" sldId="300"/>
            <ac:spMk id="22" creationId="{E9DCA5EA-C9F1-43F7-8CD9-E7D77919EBE7}"/>
          </ac:spMkLst>
        </pc:spChg>
        <pc:picChg chg="add mod modCrop">
          <ac:chgData name="Thomas Stensitzki" userId="75cafe6b-2f2a-469b-85c4-eec3b9c972ba" providerId="ADAL" clId="{2D2265D3-8133-4DA2-B8F0-5147610A7C36}" dt="2019-11-24T12:34:24.263" v="741" actId="26606"/>
          <ac:picMkLst>
            <pc:docMk/>
            <pc:sldMk cId="2384640004" sldId="300"/>
            <ac:picMk id="3" creationId="{381EB5F3-A439-447E-9864-F877E161D2CE}"/>
          </ac:picMkLst>
        </pc:picChg>
        <pc:picChg chg="mod ord">
          <ac:chgData name="Thomas Stensitzki" userId="75cafe6b-2f2a-469b-85c4-eec3b9c972ba" providerId="ADAL" clId="{2D2265D3-8133-4DA2-B8F0-5147610A7C36}" dt="2019-11-24T12:34:24.263" v="741" actId="26606"/>
          <ac:picMkLst>
            <pc:docMk/>
            <pc:sldMk cId="2384640004" sldId="300"/>
            <ac:picMk id="5" creationId="{9FB0387A-D59B-4DA5-9E22-3B98BC2F8A7C}"/>
          </ac:picMkLst>
        </pc:picChg>
        <pc:picChg chg="add mod modCrop">
          <ac:chgData name="Thomas Stensitzki" userId="75cafe6b-2f2a-469b-85c4-eec3b9c972ba" providerId="ADAL" clId="{2D2265D3-8133-4DA2-B8F0-5147610A7C36}" dt="2019-11-24T12:35:44.821" v="749" actId="1076"/>
          <ac:picMkLst>
            <pc:docMk/>
            <pc:sldMk cId="2384640004" sldId="300"/>
            <ac:picMk id="6" creationId="{93ABB356-7542-422E-81C8-78853DECE823}"/>
          </ac:picMkLst>
        </pc:picChg>
      </pc:sldChg>
      <pc:sldChg chg="addSp delSp modSp add mod ord setBg">
        <pc:chgData name="Thomas Stensitzki" userId="75cafe6b-2f2a-469b-85c4-eec3b9c972ba" providerId="ADAL" clId="{2D2265D3-8133-4DA2-B8F0-5147610A7C36}" dt="2019-11-24T12:38:49.275" v="767" actId="26606"/>
        <pc:sldMkLst>
          <pc:docMk/>
          <pc:sldMk cId="3110493448" sldId="301"/>
        </pc:sldMkLst>
        <pc:spChg chg="add del">
          <ac:chgData name="Thomas Stensitzki" userId="75cafe6b-2f2a-469b-85c4-eec3b9c972ba" providerId="ADAL" clId="{2D2265D3-8133-4DA2-B8F0-5147610A7C36}" dt="2019-11-24T12:38:49.275" v="767" actId="26606"/>
          <ac:spMkLst>
            <pc:docMk/>
            <pc:sldMk cId="3110493448" sldId="301"/>
            <ac:spMk id="12" creationId="{C8417673-F529-49EC-8402-EC8515FAD3D3}"/>
          </ac:spMkLst>
        </pc:spChg>
        <pc:spChg chg="add">
          <ac:chgData name="Thomas Stensitzki" userId="75cafe6b-2f2a-469b-85c4-eec3b9c972ba" providerId="ADAL" clId="{2D2265D3-8133-4DA2-B8F0-5147610A7C36}" dt="2019-11-24T12:38:49.275" v="767" actId="26606"/>
          <ac:spMkLst>
            <pc:docMk/>
            <pc:sldMk cId="3110493448" sldId="301"/>
            <ac:spMk id="14" creationId="{E9DCA5EA-C9F1-43F7-8CD9-E7D77919EBE7}"/>
          </ac:spMkLst>
        </pc:spChg>
        <pc:spChg chg="add del">
          <ac:chgData name="Thomas Stensitzki" userId="75cafe6b-2f2a-469b-85c4-eec3b9c972ba" providerId="ADAL" clId="{2D2265D3-8133-4DA2-B8F0-5147610A7C36}" dt="2019-11-24T12:38:32.362" v="764" actId="26606"/>
          <ac:spMkLst>
            <pc:docMk/>
            <pc:sldMk cId="3110493448" sldId="301"/>
            <ac:spMk id="17" creationId="{E9DCA5EA-C9F1-43F7-8CD9-E7D77919EBE7}"/>
          </ac:spMkLst>
        </pc:spChg>
        <pc:picChg chg="add mod modCrop">
          <ac:chgData name="Thomas Stensitzki" userId="75cafe6b-2f2a-469b-85c4-eec3b9c972ba" providerId="ADAL" clId="{2D2265D3-8133-4DA2-B8F0-5147610A7C36}" dt="2019-11-24T12:38:49.275" v="767" actId="26606"/>
          <ac:picMkLst>
            <pc:docMk/>
            <pc:sldMk cId="3110493448" sldId="301"/>
            <ac:picMk id="3" creationId="{96BD09ED-6E56-4092-9FE4-B3C407BEF9B3}"/>
          </ac:picMkLst>
        </pc:picChg>
        <pc:picChg chg="mod ord">
          <ac:chgData name="Thomas Stensitzki" userId="75cafe6b-2f2a-469b-85c4-eec3b9c972ba" providerId="ADAL" clId="{2D2265D3-8133-4DA2-B8F0-5147610A7C36}" dt="2019-11-24T12:38:49.275" v="767" actId="26606"/>
          <ac:picMkLst>
            <pc:docMk/>
            <pc:sldMk cId="3110493448" sldId="301"/>
            <ac:picMk id="5" creationId="{9FB0387A-D59B-4DA5-9E22-3B98BC2F8A7C}"/>
          </ac:picMkLst>
        </pc:picChg>
      </pc:sldChg>
      <pc:sldChg chg="addSp delSp modSp add ord modNotesTx">
        <pc:chgData name="Thomas Stensitzki" userId="75cafe6b-2f2a-469b-85c4-eec3b9c972ba" providerId="ADAL" clId="{2D2265D3-8133-4DA2-B8F0-5147610A7C36}" dt="2019-11-27T07:06:41.894" v="1756" actId="20577"/>
        <pc:sldMkLst>
          <pc:docMk/>
          <pc:sldMk cId="484366129" sldId="302"/>
        </pc:sldMkLst>
        <pc:spChg chg="mod">
          <ac:chgData name="Thomas Stensitzki" userId="75cafe6b-2f2a-469b-85c4-eec3b9c972ba" providerId="ADAL" clId="{2D2265D3-8133-4DA2-B8F0-5147610A7C36}" dt="2019-11-27T07:06:41.894" v="1756" actId="20577"/>
          <ac:spMkLst>
            <pc:docMk/>
            <pc:sldMk cId="484366129" sldId="302"/>
            <ac:spMk id="4" creationId="{68008D52-F382-4F98-896B-9B9599258C92}"/>
          </ac:spMkLst>
        </pc:spChg>
        <pc:picChg chg="add del mod">
          <ac:chgData name="Thomas Stensitzki" userId="75cafe6b-2f2a-469b-85c4-eec3b9c972ba" providerId="ADAL" clId="{2D2265D3-8133-4DA2-B8F0-5147610A7C36}" dt="2019-11-24T13:19:24.280" v="1728" actId="478"/>
          <ac:picMkLst>
            <pc:docMk/>
            <pc:sldMk cId="484366129" sldId="302"/>
            <ac:picMk id="3" creationId="{4DD7020A-E072-47EE-AD38-32A85C6A47BA}"/>
          </ac:picMkLst>
        </pc:picChg>
        <pc:picChg chg="add mod">
          <ac:chgData name="Thomas Stensitzki" userId="75cafe6b-2f2a-469b-85c4-eec3b9c972ba" providerId="ADAL" clId="{2D2265D3-8133-4DA2-B8F0-5147610A7C36}" dt="2019-11-24T13:21:06.267" v="1741" actId="14100"/>
          <ac:picMkLst>
            <pc:docMk/>
            <pc:sldMk cId="484366129" sldId="302"/>
            <ac:picMk id="6" creationId="{1EF84E65-02CD-45AA-A609-AB7553FD9F63}"/>
          </ac:picMkLst>
        </pc:picChg>
        <pc:picChg chg="mod">
          <ac:chgData name="Thomas Stensitzki" userId="75cafe6b-2f2a-469b-85c4-eec3b9c972ba" providerId="ADAL" clId="{2D2265D3-8133-4DA2-B8F0-5147610A7C36}" dt="2019-11-24T13:20:30.866" v="1737" actId="1076"/>
          <ac:picMkLst>
            <pc:docMk/>
            <pc:sldMk cId="484366129" sldId="302"/>
            <ac:picMk id="10" creationId="{489273A7-06E4-4676-99C1-D455725C976A}"/>
          </ac:picMkLst>
        </pc:picChg>
      </pc:sldChg>
      <pc:sldChg chg="modSp add">
        <pc:chgData name="Thomas Stensitzki" userId="75cafe6b-2f2a-469b-85c4-eec3b9c972ba" providerId="ADAL" clId="{2D2265D3-8133-4DA2-B8F0-5147610A7C36}" dt="2019-11-24T12:43:06.835" v="904" actId="20577"/>
        <pc:sldMkLst>
          <pc:docMk/>
          <pc:sldMk cId="4147213585" sldId="303"/>
        </pc:sldMkLst>
        <pc:spChg chg="mod">
          <ac:chgData name="Thomas Stensitzki" userId="75cafe6b-2f2a-469b-85c4-eec3b9c972ba" providerId="ADAL" clId="{2D2265D3-8133-4DA2-B8F0-5147610A7C36}" dt="2019-11-24T12:43:06.835" v="904" actId="20577"/>
          <ac:spMkLst>
            <pc:docMk/>
            <pc:sldMk cId="4147213585" sldId="303"/>
            <ac:spMk id="4" creationId="{68008D52-F382-4F98-896B-9B9599258C92}"/>
          </ac:spMkLst>
        </pc:spChg>
      </pc:sldChg>
      <pc:sldChg chg="modSp add ord modNotesTx">
        <pc:chgData name="Thomas Stensitzki" userId="75cafe6b-2f2a-469b-85c4-eec3b9c972ba" providerId="ADAL" clId="{2D2265D3-8133-4DA2-B8F0-5147610A7C36}" dt="2019-11-24T12:52:33.405" v="1256"/>
        <pc:sldMkLst>
          <pc:docMk/>
          <pc:sldMk cId="1110375211" sldId="304"/>
        </pc:sldMkLst>
        <pc:spChg chg="mod">
          <ac:chgData name="Thomas Stensitzki" userId="75cafe6b-2f2a-469b-85c4-eec3b9c972ba" providerId="ADAL" clId="{2D2265D3-8133-4DA2-B8F0-5147610A7C36}" dt="2019-11-24T12:46:25.028" v="1096" actId="20577"/>
          <ac:spMkLst>
            <pc:docMk/>
            <pc:sldMk cId="1110375211" sldId="304"/>
            <ac:spMk id="4" creationId="{68008D52-F382-4F98-896B-9B9599258C92}"/>
          </ac:spMkLst>
        </pc:spChg>
        <pc:picChg chg="mod">
          <ac:chgData name="Thomas Stensitzki" userId="75cafe6b-2f2a-469b-85c4-eec3b9c972ba" providerId="ADAL" clId="{2D2265D3-8133-4DA2-B8F0-5147610A7C36}" dt="2019-11-24T12:45:14.442" v="1031" actId="1076"/>
          <ac:picMkLst>
            <pc:docMk/>
            <pc:sldMk cId="1110375211" sldId="304"/>
            <ac:picMk id="10" creationId="{489273A7-06E4-4676-99C1-D455725C976A}"/>
          </ac:picMkLst>
        </pc:picChg>
      </pc:sldChg>
      <pc:sldChg chg="delSp modSp add ord">
        <pc:chgData name="Thomas Stensitzki" userId="75cafe6b-2f2a-469b-85c4-eec3b9c972ba" providerId="ADAL" clId="{2D2265D3-8133-4DA2-B8F0-5147610A7C36}" dt="2019-11-27T13:20:23.288" v="1837" actId="20577"/>
        <pc:sldMkLst>
          <pc:docMk/>
          <pc:sldMk cId="538682790" sldId="305"/>
        </pc:sldMkLst>
        <pc:spChg chg="mod">
          <ac:chgData name="Thomas Stensitzki" userId="75cafe6b-2f2a-469b-85c4-eec3b9c972ba" providerId="ADAL" clId="{2D2265D3-8133-4DA2-B8F0-5147610A7C36}" dt="2019-11-27T13:20:23.288" v="1837" actId="20577"/>
          <ac:spMkLst>
            <pc:docMk/>
            <pc:sldMk cId="538682790" sldId="305"/>
            <ac:spMk id="4" creationId="{68008D52-F382-4F98-896B-9B9599258C92}"/>
          </ac:spMkLst>
        </pc:spChg>
        <pc:picChg chg="del">
          <ac:chgData name="Thomas Stensitzki" userId="75cafe6b-2f2a-469b-85c4-eec3b9c972ba" providerId="ADAL" clId="{2D2265D3-8133-4DA2-B8F0-5147610A7C36}" dt="2019-11-27T13:17:34.075" v="1835" actId="478"/>
          <ac:picMkLst>
            <pc:docMk/>
            <pc:sldMk cId="538682790" sldId="305"/>
            <ac:picMk id="6" creationId="{1EF84E65-02CD-45AA-A609-AB7553FD9F63}"/>
          </ac:picMkLst>
        </pc:picChg>
      </pc:sldChg>
      <pc:sldMasterChg chg="delSp setBg delSldLayout modSldLayout">
        <pc:chgData name="Thomas Stensitzki" userId="75cafe6b-2f2a-469b-85c4-eec3b9c972ba" providerId="ADAL" clId="{2D2265D3-8133-4DA2-B8F0-5147610A7C36}" dt="2019-11-24T12:29:21.139" v="719" actId="1582"/>
        <pc:sldMasterMkLst>
          <pc:docMk/>
          <pc:sldMasterMk cId="816808266" sldId="2147483660"/>
        </pc:sldMasterMkLst>
        <pc:spChg chg="del">
          <ac:chgData name="Thomas Stensitzki" userId="75cafe6b-2f2a-469b-85c4-eec3b9c972ba" providerId="ADAL" clId="{2D2265D3-8133-4DA2-B8F0-5147610A7C36}" dt="2019-11-24T12:23:14.690" v="696" actId="478"/>
          <ac:spMkLst>
            <pc:docMk/>
            <pc:sldMasterMk cId="816808266" sldId="2147483660"/>
            <ac:spMk id="4" creationId="{FC50F2B7-3E1F-41F6-A5AE-4D99F405E575}"/>
          </ac:spMkLst>
        </pc:spChg>
        <pc:spChg chg="del">
          <ac:chgData name="Thomas Stensitzki" userId="75cafe6b-2f2a-469b-85c4-eec3b9c972ba" providerId="ADAL" clId="{2D2265D3-8133-4DA2-B8F0-5147610A7C36}" dt="2019-11-24T12:23:28.374" v="698" actId="478"/>
          <ac:spMkLst>
            <pc:docMk/>
            <pc:sldMasterMk cId="816808266" sldId="2147483660"/>
            <ac:spMk id="5" creationId="{24D5A3C4-0A88-4DA3-A3DB-F5FC0A330B87}"/>
          </ac:spMkLst>
        </pc:spChg>
        <pc:spChg chg="del">
          <ac:chgData name="Thomas Stensitzki" userId="75cafe6b-2f2a-469b-85c4-eec3b9c972ba" providerId="ADAL" clId="{2D2265D3-8133-4DA2-B8F0-5147610A7C36}" dt="2019-11-24T12:23:22.413" v="697" actId="478"/>
          <ac:spMkLst>
            <pc:docMk/>
            <pc:sldMasterMk cId="816808266" sldId="2147483660"/>
            <ac:spMk id="6" creationId="{2E5B246A-F79A-45A2-8EF5-6ED402501E67}"/>
          </ac:spMkLst>
        </pc:spChg>
        <pc:sldLayoutChg chg="addSp delSp modSp">
          <pc:chgData name="Thomas Stensitzki" userId="75cafe6b-2f2a-469b-85c4-eec3b9c972ba" providerId="ADAL" clId="{2D2265D3-8133-4DA2-B8F0-5147610A7C36}" dt="2019-11-24T12:29:21.139" v="719" actId="1582"/>
          <pc:sldLayoutMkLst>
            <pc:docMk/>
            <pc:sldMasterMk cId="816808266" sldId="2147483660"/>
            <pc:sldLayoutMk cId="2523007301" sldId="2147483661"/>
          </pc:sldLayoutMkLst>
          <pc:spChg chg="del">
            <ac:chgData name="Thomas Stensitzki" userId="75cafe6b-2f2a-469b-85c4-eec3b9c972ba" providerId="ADAL" clId="{2D2265D3-8133-4DA2-B8F0-5147610A7C36}" dt="2019-11-24T12:24:22.822" v="709" actId="478"/>
            <ac:spMkLst>
              <pc:docMk/>
              <pc:sldMasterMk cId="816808266" sldId="2147483660"/>
              <pc:sldLayoutMk cId="2523007301" sldId="2147483661"/>
              <ac:spMk id="4" creationId="{1FCBA8E2-6F8A-499A-9EB5-B072B1ADF851}"/>
            </ac:spMkLst>
          </pc:spChg>
          <pc:spChg chg="del">
            <ac:chgData name="Thomas Stensitzki" userId="75cafe6b-2f2a-469b-85c4-eec3b9c972ba" providerId="ADAL" clId="{2D2265D3-8133-4DA2-B8F0-5147610A7C36}" dt="2019-11-24T12:24:25.664" v="710" actId="478"/>
            <ac:spMkLst>
              <pc:docMk/>
              <pc:sldMasterMk cId="816808266" sldId="2147483660"/>
              <pc:sldLayoutMk cId="2523007301" sldId="2147483661"/>
              <ac:spMk id="5" creationId="{B4E6ABF4-34F3-4F72-88F1-FF3D43378B20}"/>
            </ac:spMkLst>
          </pc:spChg>
          <pc:spChg chg="del">
            <ac:chgData name="Thomas Stensitzki" userId="75cafe6b-2f2a-469b-85c4-eec3b9c972ba" providerId="ADAL" clId="{2D2265D3-8133-4DA2-B8F0-5147610A7C36}" dt="2019-11-24T12:24:28.081" v="711" actId="478"/>
            <ac:spMkLst>
              <pc:docMk/>
              <pc:sldMasterMk cId="816808266" sldId="2147483660"/>
              <pc:sldLayoutMk cId="2523007301" sldId="2147483661"/>
              <ac:spMk id="6" creationId="{A28E395D-83BE-4EB1-A602-862D963BA0B9}"/>
            </ac:spMkLst>
          </pc:spChg>
          <pc:spChg chg="add mod ord">
            <ac:chgData name="Thomas Stensitzki" userId="75cafe6b-2f2a-469b-85c4-eec3b9c972ba" providerId="ADAL" clId="{2D2265D3-8133-4DA2-B8F0-5147610A7C36}" dt="2019-11-24T12:29:21.139" v="719" actId="1582"/>
            <ac:spMkLst>
              <pc:docMk/>
              <pc:sldMasterMk cId="816808266" sldId="2147483660"/>
              <pc:sldLayoutMk cId="2523007301" sldId="2147483661"/>
              <ac:spMk id="7" creationId="{E6FD1CBA-A4E0-4DBB-BC9B-CC4AB95E380F}"/>
            </ac:spMkLst>
          </pc:spChg>
        </pc:sldLayoutChg>
        <pc:sldLayoutChg chg="del">
          <pc:chgData name="Thomas Stensitzki" userId="75cafe6b-2f2a-469b-85c4-eec3b9c972ba" providerId="ADAL" clId="{2D2265D3-8133-4DA2-B8F0-5147610A7C36}" dt="2019-11-24T12:24:14.667" v="704" actId="2696"/>
          <pc:sldLayoutMkLst>
            <pc:docMk/>
            <pc:sldMasterMk cId="816808266" sldId="2147483660"/>
            <pc:sldLayoutMk cId="3755988739" sldId="2147483662"/>
          </pc:sldLayoutMkLst>
        </pc:sldLayoutChg>
        <pc:sldLayoutChg chg="del">
          <pc:chgData name="Thomas Stensitzki" userId="75cafe6b-2f2a-469b-85c4-eec3b9c972ba" providerId="ADAL" clId="{2D2265D3-8133-4DA2-B8F0-5147610A7C36}" dt="2019-11-24T12:24:14.674" v="705" actId="2696"/>
          <pc:sldLayoutMkLst>
            <pc:docMk/>
            <pc:sldMasterMk cId="816808266" sldId="2147483660"/>
            <pc:sldLayoutMk cId="471914301" sldId="2147483663"/>
          </pc:sldLayoutMkLst>
        </pc:sldLayoutChg>
        <pc:sldLayoutChg chg="del">
          <pc:chgData name="Thomas Stensitzki" userId="75cafe6b-2f2a-469b-85c4-eec3b9c972ba" providerId="ADAL" clId="{2D2265D3-8133-4DA2-B8F0-5147610A7C36}" dt="2019-11-24T12:24:14.682" v="706" actId="2696"/>
          <pc:sldLayoutMkLst>
            <pc:docMk/>
            <pc:sldMasterMk cId="816808266" sldId="2147483660"/>
            <pc:sldLayoutMk cId="559719825" sldId="2147483664"/>
          </pc:sldLayoutMkLst>
        </pc:sldLayoutChg>
        <pc:sldLayoutChg chg="del">
          <pc:chgData name="Thomas Stensitzki" userId="75cafe6b-2f2a-469b-85c4-eec3b9c972ba" providerId="ADAL" clId="{2D2265D3-8133-4DA2-B8F0-5147610A7C36}" dt="2019-11-24T12:24:14.693" v="707" actId="2696"/>
          <pc:sldLayoutMkLst>
            <pc:docMk/>
            <pc:sldMasterMk cId="816808266" sldId="2147483660"/>
            <pc:sldLayoutMk cId="1047441296" sldId="2147483665"/>
          </pc:sldLayoutMkLst>
        </pc:sldLayoutChg>
        <pc:sldLayoutChg chg="del">
          <pc:chgData name="Thomas Stensitzki" userId="75cafe6b-2f2a-469b-85c4-eec3b9c972ba" providerId="ADAL" clId="{2D2265D3-8133-4DA2-B8F0-5147610A7C36}" dt="2019-11-24T12:24:14.701" v="708" actId="2696"/>
          <pc:sldLayoutMkLst>
            <pc:docMk/>
            <pc:sldMasterMk cId="816808266" sldId="2147483660"/>
            <pc:sldLayoutMk cId="2886745777" sldId="2147483666"/>
          </pc:sldLayoutMkLst>
        </pc:sldLayoutChg>
        <pc:sldLayoutChg chg="del">
          <pc:chgData name="Thomas Stensitzki" userId="75cafe6b-2f2a-469b-85c4-eec3b9c972ba" providerId="ADAL" clId="{2D2265D3-8133-4DA2-B8F0-5147610A7C36}" dt="2019-11-24T12:24:14.641" v="703" actId="2696"/>
          <pc:sldLayoutMkLst>
            <pc:docMk/>
            <pc:sldMasterMk cId="816808266" sldId="2147483660"/>
            <pc:sldLayoutMk cId="1671039848" sldId="2147483667"/>
          </pc:sldLayoutMkLst>
        </pc:sldLayoutChg>
        <pc:sldLayoutChg chg="del">
          <pc:chgData name="Thomas Stensitzki" userId="75cafe6b-2f2a-469b-85c4-eec3b9c972ba" providerId="ADAL" clId="{2D2265D3-8133-4DA2-B8F0-5147610A7C36}" dt="2019-11-24T12:24:09.006" v="702" actId="2696"/>
          <pc:sldLayoutMkLst>
            <pc:docMk/>
            <pc:sldMasterMk cId="816808266" sldId="2147483660"/>
            <pc:sldLayoutMk cId="2442053036" sldId="2147483668"/>
          </pc:sldLayoutMkLst>
        </pc:sldLayoutChg>
        <pc:sldLayoutChg chg="del">
          <pc:chgData name="Thomas Stensitzki" userId="75cafe6b-2f2a-469b-85c4-eec3b9c972ba" providerId="ADAL" clId="{2D2265D3-8133-4DA2-B8F0-5147610A7C36}" dt="2019-11-24T12:24:04.265" v="701" actId="2696"/>
          <pc:sldLayoutMkLst>
            <pc:docMk/>
            <pc:sldMasterMk cId="816808266" sldId="2147483660"/>
            <pc:sldLayoutMk cId="11984618" sldId="2147483669"/>
          </pc:sldLayoutMkLst>
        </pc:sldLayoutChg>
        <pc:sldLayoutChg chg="del">
          <pc:chgData name="Thomas Stensitzki" userId="75cafe6b-2f2a-469b-85c4-eec3b9c972ba" providerId="ADAL" clId="{2D2265D3-8133-4DA2-B8F0-5147610A7C36}" dt="2019-11-24T12:24:01.192" v="700" actId="2696"/>
          <pc:sldLayoutMkLst>
            <pc:docMk/>
            <pc:sldMasterMk cId="816808266" sldId="2147483660"/>
            <pc:sldLayoutMk cId="1822370916" sldId="2147483670"/>
          </pc:sldLayoutMkLst>
        </pc:sldLayoutChg>
        <pc:sldLayoutChg chg="del">
          <pc:chgData name="Thomas Stensitzki" userId="75cafe6b-2f2a-469b-85c4-eec3b9c972ba" providerId="ADAL" clId="{2D2265D3-8133-4DA2-B8F0-5147610A7C36}" dt="2019-11-24T12:23:58.477" v="699" actId="2696"/>
          <pc:sldLayoutMkLst>
            <pc:docMk/>
            <pc:sldMasterMk cId="816808266" sldId="2147483660"/>
            <pc:sldLayoutMk cId="2833342873" sldId="2147483671"/>
          </pc:sldLayoutMkLst>
        </pc:sldLayoutChg>
      </pc:sldMasterChg>
    </pc:docChg>
  </pc:docChgLst>
  <pc:docChgLst>
    <pc:chgData name="Thomas Stensitzki" userId="S::thomas.stensitzki@granikos.eu::75cafe6b-2f2a-469b-85c4-eec3b9c972ba" providerId="AD" clId="Web-{26266C41-E76D-4AA9-9B96-436F81D72A61}"/>
  </pc:docChgLst>
  <pc:docChgLst>
    <pc:chgData name="Thomas Stensitzki" userId="75cafe6b-2f2a-469b-85c4-eec3b9c972ba" providerId="ADAL" clId="{442C4C9B-8C8D-4D11-8289-3862A7409AF5}"/>
  </pc:docChgLst>
  <pc:docChgLst>
    <pc:chgData name="Thomas Stensitzki" userId="75cafe6b-2f2a-469b-85c4-eec3b9c972ba" providerId="ADAL" clId="{1B93453E-86AA-48F9-9D4B-D4A38243BA81}"/>
    <pc:docChg chg="undo custSel addSld delSld modSld sldOrd addSection delSection modSection">
      <pc:chgData name="Thomas Stensitzki" userId="75cafe6b-2f2a-469b-85c4-eec3b9c972ba" providerId="ADAL" clId="{1B93453E-86AA-48F9-9D4B-D4A38243BA81}" dt="2019-09-24T09:53:00.271" v="574" actId="20577"/>
      <pc:docMkLst>
        <pc:docMk/>
      </pc:docMkLst>
      <pc:sldChg chg="modSp">
        <pc:chgData name="Thomas Stensitzki" userId="75cafe6b-2f2a-469b-85c4-eec3b9c972ba" providerId="ADAL" clId="{1B93453E-86AA-48F9-9D4B-D4A38243BA81}" dt="2019-09-18T18:47:04.253" v="6" actId="20577"/>
        <pc:sldMkLst>
          <pc:docMk/>
          <pc:sldMk cId="2233058839" sldId="256"/>
        </pc:sldMkLst>
        <pc:spChg chg="mod">
          <ac:chgData name="Thomas Stensitzki" userId="75cafe6b-2f2a-469b-85c4-eec3b9c972ba" providerId="ADAL" clId="{1B93453E-86AA-48F9-9D4B-D4A38243BA81}" dt="2019-09-18T18:47:04.253" v="6" actId="20577"/>
          <ac:spMkLst>
            <pc:docMk/>
            <pc:sldMk cId="2233058839" sldId="256"/>
            <ac:spMk id="3" creationId="{9CA5EC23-BD0A-406D-A05E-E69B661C942E}"/>
          </ac:spMkLst>
        </pc:spChg>
      </pc:sldChg>
      <pc:sldChg chg="modSp add del mod modShow">
        <pc:chgData name="Thomas Stensitzki" userId="75cafe6b-2f2a-469b-85c4-eec3b9c972ba" providerId="ADAL" clId="{1B93453E-86AA-48F9-9D4B-D4A38243BA81}" dt="2019-09-18T18:54:47.685" v="150" actId="20577"/>
        <pc:sldMkLst>
          <pc:docMk/>
          <pc:sldMk cId="165204413" sldId="261"/>
        </pc:sldMkLst>
        <pc:spChg chg="mod">
          <ac:chgData name="Thomas Stensitzki" userId="75cafe6b-2f2a-469b-85c4-eec3b9c972ba" providerId="ADAL" clId="{1B93453E-86AA-48F9-9D4B-D4A38243BA81}" dt="2019-09-18T18:54:47.685" v="150" actId="20577"/>
          <ac:spMkLst>
            <pc:docMk/>
            <pc:sldMk cId="165204413" sldId="261"/>
            <ac:spMk id="4" creationId="{68008D52-F382-4F98-896B-9B9599258C92}"/>
          </ac:spMkLst>
        </pc:spChg>
        <pc:picChg chg="mod">
          <ac:chgData name="Thomas Stensitzki" userId="75cafe6b-2f2a-469b-85c4-eec3b9c972ba" providerId="ADAL" clId="{1B93453E-86AA-48F9-9D4B-D4A38243BA81}" dt="2019-09-18T18:53:07.268" v="12" actId="1076"/>
          <ac:picMkLst>
            <pc:docMk/>
            <pc:sldMk cId="165204413" sldId="261"/>
            <ac:picMk id="10" creationId="{489273A7-06E4-4676-99C1-D455725C976A}"/>
          </ac:picMkLst>
        </pc:picChg>
      </pc:sldChg>
      <pc:sldChg chg="modSp mod modShow">
        <pc:chgData name="Thomas Stensitzki" userId="75cafe6b-2f2a-469b-85c4-eec3b9c972ba" providerId="ADAL" clId="{1B93453E-86AA-48F9-9D4B-D4A38243BA81}" dt="2019-09-18T18:58:27.406" v="217" actId="729"/>
        <pc:sldMkLst>
          <pc:docMk/>
          <pc:sldMk cId="4181224096" sldId="263"/>
        </pc:sldMkLst>
        <pc:spChg chg="mod">
          <ac:chgData name="Thomas Stensitzki" userId="75cafe6b-2f2a-469b-85c4-eec3b9c972ba" providerId="ADAL" clId="{1B93453E-86AA-48F9-9D4B-D4A38243BA81}" dt="2019-09-18T18:56:28.259" v="166" actId="20577"/>
          <ac:spMkLst>
            <pc:docMk/>
            <pc:sldMk cId="4181224096" sldId="263"/>
            <ac:spMk id="7" creationId="{9E492FC5-DCC4-4751-89B7-2E7186B361D1}"/>
          </ac:spMkLst>
        </pc:spChg>
      </pc:sldChg>
      <pc:sldChg chg="modSp">
        <pc:chgData name="Thomas Stensitzki" userId="75cafe6b-2f2a-469b-85c4-eec3b9c972ba" providerId="ADAL" clId="{1B93453E-86AA-48F9-9D4B-D4A38243BA81}" dt="2019-09-24T07:09:04.566" v="258" actId="20577"/>
        <pc:sldMkLst>
          <pc:docMk/>
          <pc:sldMk cId="3056444349" sldId="265"/>
        </pc:sldMkLst>
        <pc:spChg chg="mod">
          <ac:chgData name="Thomas Stensitzki" userId="75cafe6b-2f2a-469b-85c4-eec3b9c972ba" providerId="ADAL" clId="{1B93453E-86AA-48F9-9D4B-D4A38243BA81}" dt="2019-09-24T07:09:04.566" v="258" actId="20577"/>
          <ac:spMkLst>
            <pc:docMk/>
            <pc:sldMk cId="3056444349" sldId="265"/>
            <ac:spMk id="2" creationId="{67872E48-A59A-4E07-BC6E-6244BE730E18}"/>
          </ac:spMkLst>
        </pc:spChg>
      </pc:sldChg>
      <pc:sldChg chg="addSp delSp">
        <pc:chgData name="Thomas Stensitzki" userId="75cafe6b-2f2a-469b-85c4-eec3b9c972ba" providerId="ADAL" clId="{1B93453E-86AA-48F9-9D4B-D4A38243BA81}" dt="2019-09-23T07:53:52.342" v="219"/>
        <pc:sldMkLst>
          <pc:docMk/>
          <pc:sldMk cId="3508810742" sldId="271"/>
        </pc:sldMkLst>
        <pc:picChg chg="add">
          <ac:chgData name="Thomas Stensitzki" userId="75cafe6b-2f2a-469b-85c4-eec3b9c972ba" providerId="ADAL" clId="{1B93453E-86AA-48F9-9D4B-D4A38243BA81}" dt="2019-09-23T07:53:52.342" v="219"/>
          <ac:picMkLst>
            <pc:docMk/>
            <pc:sldMk cId="3508810742" sldId="271"/>
            <ac:picMk id="5" creationId="{B83008BD-AF07-4AB2-98C9-0667DEBFF0E4}"/>
          </ac:picMkLst>
        </pc:picChg>
        <pc:picChg chg="del">
          <ac:chgData name="Thomas Stensitzki" userId="75cafe6b-2f2a-469b-85c4-eec3b9c972ba" providerId="ADAL" clId="{1B93453E-86AA-48F9-9D4B-D4A38243BA81}" dt="2019-09-23T07:53:51.212" v="218" actId="478"/>
          <ac:picMkLst>
            <pc:docMk/>
            <pc:sldMk cId="3508810742" sldId="271"/>
            <ac:picMk id="6" creationId="{B5D0C990-1797-4A8F-B753-6CD0BC6F8422}"/>
          </ac:picMkLst>
        </pc:picChg>
      </pc:sldChg>
      <pc:sldChg chg="del">
        <pc:chgData name="Thomas Stensitzki" userId="75cafe6b-2f2a-469b-85c4-eec3b9c972ba" providerId="ADAL" clId="{1B93453E-86AA-48F9-9D4B-D4A38243BA81}" dt="2019-09-18T18:55:44.318" v="154" actId="18676"/>
        <pc:sldMkLst>
          <pc:docMk/>
          <pc:sldMk cId="1022862884" sldId="274"/>
        </pc:sldMkLst>
      </pc:sldChg>
      <pc:sldChg chg="modSp mod modShow">
        <pc:chgData name="Thomas Stensitzki" userId="75cafe6b-2f2a-469b-85c4-eec3b9c972ba" providerId="ADAL" clId="{1B93453E-86AA-48F9-9D4B-D4A38243BA81}" dt="2019-09-24T09:53:00.271" v="574" actId="20577"/>
        <pc:sldMkLst>
          <pc:docMk/>
          <pc:sldMk cId="3670118464" sldId="275"/>
        </pc:sldMkLst>
        <pc:spChg chg="mod">
          <ac:chgData name="Thomas Stensitzki" userId="75cafe6b-2f2a-469b-85c4-eec3b9c972ba" providerId="ADAL" clId="{1B93453E-86AA-48F9-9D4B-D4A38243BA81}" dt="2019-09-24T09:53:00.271" v="574" actId="20577"/>
          <ac:spMkLst>
            <pc:docMk/>
            <pc:sldMk cId="3670118464" sldId="275"/>
            <ac:spMk id="4" creationId="{68008D52-F382-4F98-896B-9B9599258C92}"/>
          </ac:spMkLst>
        </pc:spChg>
      </pc:sldChg>
      <pc:sldChg chg="del">
        <pc:chgData name="Thomas Stensitzki" userId="75cafe6b-2f2a-469b-85c4-eec3b9c972ba" providerId="ADAL" clId="{1B93453E-86AA-48F9-9D4B-D4A38243BA81}" dt="2019-09-18T18:55:44.318" v="154" actId="18676"/>
        <pc:sldMkLst>
          <pc:docMk/>
          <pc:sldMk cId="1772121096" sldId="279"/>
        </pc:sldMkLst>
      </pc:sldChg>
      <pc:sldChg chg="del">
        <pc:chgData name="Thomas Stensitzki" userId="75cafe6b-2f2a-469b-85c4-eec3b9c972ba" providerId="ADAL" clId="{1B93453E-86AA-48F9-9D4B-D4A38243BA81}" dt="2019-09-18T18:55:44.318" v="154" actId="18676"/>
        <pc:sldMkLst>
          <pc:docMk/>
          <pc:sldMk cId="3645246325" sldId="280"/>
        </pc:sldMkLst>
      </pc:sldChg>
      <pc:sldChg chg="del">
        <pc:chgData name="Thomas Stensitzki" userId="75cafe6b-2f2a-469b-85c4-eec3b9c972ba" providerId="ADAL" clId="{1B93453E-86AA-48F9-9D4B-D4A38243BA81}" dt="2019-09-18T18:55:44.318" v="154" actId="18676"/>
        <pc:sldMkLst>
          <pc:docMk/>
          <pc:sldMk cId="3526624652" sldId="281"/>
        </pc:sldMkLst>
      </pc:sldChg>
      <pc:sldChg chg="modSp">
        <pc:chgData name="Thomas Stensitzki" userId="75cafe6b-2f2a-469b-85c4-eec3b9c972ba" providerId="ADAL" clId="{1B93453E-86AA-48F9-9D4B-D4A38243BA81}" dt="2019-09-24T07:09:26.371" v="259" actId="20577"/>
        <pc:sldMkLst>
          <pc:docMk/>
          <pc:sldMk cId="3237114054" sldId="284"/>
        </pc:sldMkLst>
        <pc:spChg chg="mod">
          <ac:chgData name="Thomas Stensitzki" userId="75cafe6b-2f2a-469b-85c4-eec3b9c972ba" providerId="ADAL" clId="{1B93453E-86AA-48F9-9D4B-D4A38243BA81}" dt="2019-09-24T07:09:26.371" v="259" actId="20577"/>
          <ac:spMkLst>
            <pc:docMk/>
            <pc:sldMk cId="3237114054" sldId="284"/>
            <ac:spMk id="3" creationId="{79AEE5B6-C5BD-4D7E-9212-6900527E0ECE}"/>
          </ac:spMkLst>
        </pc:spChg>
      </pc:sldChg>
      <pc:sldChg chg="modSp add ord">
        <pc:chgData name="Thomas Stensitzki" userId="75cafe6b-2f2a-469b-85c4-eec3b9c972ba" providerId="ADAL" clId="{1B93453E-86AA-48F9-9D4B-D4A38243BA81}" dt="2019-09-24T07:22:12.408" v="352" actId="20577"/>
        <pc:sldMkLst>
          <pc:docMk/>
          <pc:sldMk cId="958923479" sldId="291"/>
        </pc:sldMkLst>
        <pc:spChg chg="mod">
          <ac:chgData name="Thomas Stensitzki" userId="75cafe6b-2f2a-469b-85c4-eec3b9c972ba" providerId="ADAL" clId="{1B93453E-86AA-48F9-9D4B-D4A38243BA81}" dt="2019-09-24T07:22:12.408" v="352" actId="20577"/>
          <ac:spMkLst>
            <pc:docMk/>
            <pc:sldMk cId="958923479" sldId="291"/>
            <ac:spMk id="4" creationId="{68008D52-F382-4F98-896B-9B9599258C92}"/>
          </ac:spMkLst>
        </pc:spChg>
      </pc:sldChg>
      <pc:sldChg chg="addSp delSp add del setBg delDesignElem">
        <pc:chgData name="Thomas Stensitzki" userId="75cafe6b-2f2a-469b-85c4-eec3b9c972ba" providerId="ADAL" clId="{1B93453E-86AA-48F9-9D4B-D4A38243BA81}" dt="2019-09-18T18:57:00.425" v="171"/>
        <pc:sldMkLst>
          <pc:docMk/>
          <pc:sldMk cId="4034891652" sldId="291"/>
        </pc:sldMkLst>
        <pc:spChg chg="add del">
          <ac:chgData name="Thomas Stensitzki" userId="75cafe6b-2f2a-469b-85c4-eec3b9c972ba" providerId="ADAL" clId="{1B93453E-86AA-48F9-9D4B-D4A38243BA81}" dt="2019-09-18T18:57:00.425" v="171"/>
          <ac:spMkLst>
            <pc:docMk/>
            <pc:sldMk cId="4034891652" sldId="291"/>
            <ac:spMk id="23" creationId="{86C7B4A1-154A-4DF0-AC46-F88D75A2E0FD}"/>
          </ac:spMkLst>
        </pc:spChg>
      </pc:sldChg>
      <pc:sldChg chg="modSp add">
        <pc:chgData name="Thomas Stensitzki" userId="75cafe6b-2f2a-469b-85c4-eec3b9c972ba" providerId="ADAL" clId="{1B93453E-86AA-48F9-9D4B-D4A38243BA81}" dt="2019-09-24T07:20:31.712" v="267" actId="20577"/>
        <pc:sldMkLst>
          <pc:docMk/>
          <pc:sldMk cId="1908379705" sldId="292"/>
        </pc:sldMkLst>
        <pc:spChg chg="mod">
          <ac:chgData name="Thomas Stensitzki" userId="75cafe6b-2f2a-469b-85c4-eec3b9c972ba" providerId="ADAL" clId="{1B93453E-86AA-48F9-9D4B-D4A38243BA81}" dt="2019-09-24T07:20:31.712" v="267" actId="20577"/>
          <ac:spMkLst>
            <pc:docMk/>
            <pc:sldMk cId="1908379705" sldId="292"/>
            <ac:spMk id="4" creationId="{68008D52-F382-4F98-896B-9B9599258C92}"/>
          </ac:spMkLst>
        </pc:spChg>
      </pc:sldChg>
    </pc:docChg>
  </pc:docChgLst>
  <pc:docChgLst>
    <pc:chgData name="Thomas Stensitzki" userId="75cafe6b-2f2a-469b-85c4-eec3b9c972ba" providerId="ADAL" clId="{F474EBE5-C089-4549-BC97-5E0EFF88C97F}"/>
    <pc:docChg chg="custSel addSld delSld modSld modSection">
      <pc:chgData name="Thomas Stensitzki" userId="75cafe6b-2f2a-469b-85c4-eec3b9c972ba" providerId="ADAL" clId="{F474EBE5-C089-4549-BC97-5E0EFF88C97F}" dt="2019-06-18T15:28:17.773" v="111" actId="2696"/>
      <pc:docMkLst>
        <pc:docMk/>
      </pc:docMkLst>
      <pc:sldChg chg="modSp">
        <pc:chgData name="Thomas Stensitzki" userId="75cafe6b-2f2a-469b-85c4-eec3b9c972ba" providerId="ADAL" clId="{F474EBE5-C089-4549-BC97-5E0EFF88C97F}" dt="2019-06-09T10:12:16.006" v="11" actId="6549"/>
        <pc:sldMkLst>
          <pc:docMk/>
          <pc:sldMk cId="2233058839" sldId="256"/>
        </pc:sldMkLst>
        <pc:spChg chg="mod">
          <ac:chgData name="Thomas Stensitzki" userId="75cafe6b-2f2a-469b-85c4-eec3b9c972ba" providerId="ADAL" clId="{F474EBE5-C089-4549-BC97-5E0EFF88C97F}" dt="2019-06-09T10:12:16.006" v="11" actId="6549"/>
          <ac:spMkLst>
            <pc:docMk/>
            <pc:sldMk cId="2233058839" sldId="256"/>
            <ac:spMk id="3" creationId="{9CA5EC23-BD0A-406D-A05E-E69B661C942E}"/>
          </ac:spMkLst>
        </pc:spChg>
      </pc:sldChg>
      <pc:sldChg chg="modSp modTransition">
        <pc:chgData name="Thomas Stensitzki" userId="75cafe6b-2f2a-469b-85c4-eec3b9c972ba" providerId="ADAL" clId="{F474EBE5-C089-4549-BC97-5E0EFF88C97F}" dt="2019-06-18T15:27:05.151" v="103" actId="14100"/>
        <pc:sldMkLst>
          <pc:docMk/>
          <pc:sldMk cId="165204413" sldId="261"/>
        </pc:sldMkLst>
        <pc:spChg chg="mod">
          <ac:chgData name="Thomas Stensitzki" userId="75cafe6b-2f2a-469b-85c4-eec3b9c972ba" providerId="ADAL" clId="{F474EBE5-C089-4549-BC97-5E0EFF88C97F}" dt="2019-06-18T15:27:05.151" v="103" actId="14100"/>
          <ac:spMkLst>
            <pc:docMk/>
            <pc:sldMk cId="165204413" sldId="261"/>
            <ac:spMk id="4" creationId="{68008D52-F382-4F98-896B-9B9599258C92}"/>
          </ac:spMkLst>
        </pc:spChg>
      </pc:sldChg>
      <pc:sldChg chg="modSp">
        <pc:chgData name="Thomas Stensitzki" userId="75cafe6b-2f2a-469b-85c4-eec3b9c972ba" providerId="ADAL" clId="{F474EBE5-C089-4549-BC97-5E0EFF88C97F}" dt="2019-06-18T15:27:22.626" v="104" actId="6549"/>
        <pc:sldMkLst>
          <pc:docMk/>
          <pc:sldMk cId="3056444349" sldId="265"/>
        </pc:sldMkLst>
        <pc:spChg chg="mod">
          <ac:chgData name="Thomas Stensitzki" userId="75cafe6b-2f2a-469b-85c4-eec3b9c972ba" providerId="ADAL" clId="{F474EBE5-C089-4549-BC97-5E0EFF88C97F}" dt="2019-06-18T15:27:22.626" v="104" actId="6549"/>
          <ac:spMkLst>
            <pc:docMk/>
            <pc:sldMk cId="3056444349" sldId="265"/>
            <ac:spMk id="2" creationId="{67872E48-A59A-4E07-BC6E-6244BE730E18}"/>
          </ac:spMkLst>
        </pc:spChg>
      </pc:sldChg>
      <pc:sldChg chg="addSp delSp modSp">
        <pc:chgData name="Thomas Stensitzki" userId="75cafe6b-2f2a-469b-85c4-eec3b9c972ba" providerId="ADAL" clId="{F474EBE5-C089-4549-BC97-5E0EFF88C97F}" dt="2019-06-09T10:15:31.763" v="23" actId="1076"/>
        <pc:sldMkLst>
          <pc:docMk/>
          <pc:sldMk cId="3508810742" sldId="271"/>
        </pc:sldMkLst>
        <pc:spChg chg="add del mod">
          <ac:chgData name="Thomas Stensitzki" userId="75cafe6b-2f2a-469b-85c4-eec3b9c972ba" providerId="ADAL" clId="{F474EBE5-C089-4549-BC97-5E0EFF88C97F}" dt="2019-06-09T10:13:49.983" v="13" actId="478"/>
          <ac:spMkLst>
            <pc:docMk/>
            <pc:sldMk cId="3508810742" sldId="271"/>
            <ac:spMk id="3" creationId="{2FE0E931-F684-4BF2-A1C1-4FF9E2825DEF}"/>
          </ac:spMkLst>
        </pc:spChg>
        <pc:picChg chg="add del mod">
          <ac:chgData name="Thomas Stensitzki" userId="75cafe6b-2f2a-469b-85c4-eec3b9c972ba" providerId="ADAL" clId="{F474EBE5-C089-4549-BC97-5E0EFF88C97F}" dt="2019-06-09T10:15:20.374" v="19" actId="478"/>
          <ac:picMkLst>
            <pc:docMk/>
            <pc:sldMk cId="3508810742" sldId="271"/>
            <ac:picMk id="4" creationId="{A8CFCBC7-C481-41A2-8A15-573B38591BD1}"/>
          </ac:picMkLst>
        </pc:picChg>
        <pc:picChg chg="del">
          <ac:chgData name="Thomas Stensitzki" userId="75cafe6b-2f2a-469b-85c4-eec3b9c972ba" providerId="ADAL" clId="{F474EBE5-C089-4549-BC97-5E0EFF88C97F}" dt="2019-06-09T10:12:30.496" v="12" actId="478"/>
          <ac:picMkLst>
            <pc:docMk/>
            <pc:sldMk cId="3508810742" sldId="271"/>
            <ac:picMk id="5" creationId="{D2CA2F4F-F8C1-425C-B225-A647DD4C4928}"/>
          </ac:picMkLst>
        </pc:picChg>
        <pc:picChg chg="add mod">
          <ac:chgData name="Thomas Stensitzki" userId="75cafe6b-2f2a-469b-85c4-eec3b9c972ba" providerId="ADAL" clId="{F474EBE5-C089-4549-BC97-5E0EFF88C97F}" dt="2019-06-09T10:15:31.763" v="23" actId="1076"/>
          <ac:picMkLst>
            <pc:docMk/>
            <pc:sldMk cId="3508810742" sldId="271"/>
            <ac:picMk id="6" creationId="{B5D0C990-1797-4A8F-B753-6CD0BC6F8422}"/>
          </ac:picMkLst>
        </pc:picChg>
      </pc:sldChg>
      <pc:sldChg chg="modTransition">
        <pc:chgData name="Thomas Stensitzki" userId="75cafe6b-2f2a-469b-85c4-eec3b9c972ba" providerId="ADAL" clId="{F474EBE5-C089-4549-BC97-5E0EFF88C97F}" dt="2019-06-18T15:27:28.444" v="105"/>
        <pc:sldMkLst>
          <pc:docMk/>
          <pc:sldMk cId="3670118464" sldId="275"/>
        </pc:sldMkLst>
      </pc:sldChg>
      <pc:sldChg chg="del">
        <pc:chgData name="Thomas Stensitzki" userId="75cafe6b-2f2a-469b-85c4-eec3b9c972ba" providerId="ADAL" clId="{F474EBE5-C089-4549-BC97-5E0EFF88C97F}" dt="2019-06-18T15:27:39.179" v="106" actId="2696"/>
        <pc:sldMkLst>
          <pc:docMk/>
          <pc:sldMk cId="2728232670" sldId="283"/>
        </pc:sldMkLst>
      </pc:sldChg>
      <pc:sldChg chg="del">
        <pc:chgData name="Thomas Stensitzki" userId="75cafe6b-2f2a-469b-85c4-eec3b9c972ba" providerId="ADAL" clId="{F474EBE5-C089-4549-BC97-5E0EFF88C97F}" dt="2019-06-18T15:28:17.773" v="111" actId="2696"/>
        <pc:sldMkLst>
          <pc:docMk/>
          <pc:sldMk cId="2739392872" sldId="285"/>
        </pc:sldMkLst>
      </pc:sldChg>
      <pc:sldChg chg="addSp delSp modSp add">
        <pc:chgData name="Thomas Stensitzki" userId="75cafe6b-2f2a-469b-85c4-eec3b9c972ba" providerId="ADAL" clId="{F474EBE5-C089-4549-BC97-5E0EFF88C97F}" dt="2019-06-18T15:28:08.634" v="110" actId="1076"/>
        <pc:sldMkLst>
          <pc:docMk/>
          <pc:sldMk cId="1857995394" sldId="290"/>
        </pc:sldMkLst>
        <pc:picChg chg="add mod">
          <ac:chgData name="Thomas Stensitzki" userId="75cafe6b-2f2a-469b-85c4-eec3b9c972ba" providerId="ADAL" clId="{F474EBE5-C089-4549-BC97-5E0EFF88C97F}" dt="2019-06-18T15:28:08.634" v="110" actId="1076"/>
          <ac:picMkLst>
            <pc:docMk/>
            <pc:sldMk cId="1857995394" sldId="290"/>
            <ac:picMk id="5" creationId="{14F529D7-358C-4B3B-966D-A5E9328E7DBF}"/>
          </ac:picMkLst>
        </pc:picChg>
        <pc:picChg chg="del">
          <ac:chgData name="Thomas Stensitzki" userId="75cafe6b-2f2a-469b-85c4-eec3b9c972ba" providerId="ADAL" clId="{F474EBE5-C089-4549-BC97-5E0EFF88C97F}" dt="2019-06-18T15:27:56.373" v="108" actId="478"/>
          <ac:picMkLst>
            <pc:docMk/>
            <pc:sldMk cId="1857995394" sldId="290"/>
            <ac:picMk id="9" creationId="{3079898F-A54E-4686-84FE-B77C6DF83F4D}"/>
          </ac:picMkLst>
        </pc:picChg>
      </pc:sldChg>
    </pc:docChg>
  </pc:docChgLst>
  <pc:docChgLst>
    <pc:chgData name="Thomas Stensitzki" userId="S::thomas.stensitzki@granikos.eu::75cafe6b-2f2a-469b-85c4-eec3b9c972ba" providerId="AD" clId="Web-{0AC56F2D-7F6B-4B96-9FD9-59FD522DF090}"/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A622B8-E1AA-4E14-A8C4-9B15F761FE26}" type="doc">
      <dgm:prSet loTypeId="urn:microsoft.com/office/officeart/2005/8/layout/hList7" loCatId="process" qsTypeId="urn:microsoft.com/office/officeart/2005/8/quickstyle/simple1" qsCatId="simple" csTypeId="urn:microsoft.com/office/officeart/2005/8/colors/accent2_2" csCatId="accent2" phldr="1"/>
      <dgm:spPr/>
    </dgm:pt>
    <dgm:pt modelId="{9ACA7211-75F5-42B8-93D5-0B676AE9727E}">
      <dgm:prSet phldrT="[Text]" custT="1"/>
      <dgm:spPr>
        <a:solidFill>
          <a:srgbClr val="D83B01"/>
        </a:solidFill>
      </dgm:spPr>
      <dgm:t>
        <a:bodyPr/>
        <a:lstStyle/>
        <a:p>
          <a:pPr>
            <a:spcAft>
              <a:spcPct val="35000"/>
            </a:spcAft>
          </a:pPr>
          <a:r>
            <a:rPr lang="en-US" sz="2000" dirty="0">
              <a:latin typeface="Segoe UI Semibold" panose="020B0702040204020203" pitchFamily="34" charset="0"/>
              <a:cs typeface="Segoe UI Semibold" panose="020B0702040204020203" pitchFamily="34" charset="0"/>
            </a:rPr>
            <a:t>Office 365 Roadmap</a:t>
          </a:r>
        </a:p>
      </dgm:t>
    </dgm:pt>
    <dgm:pt modelId="{4484D32F-EE26-4FDB-8634-C8D8A4C5F081}" type="parTrans" cxnId="{E88D4A0A-562C-4123-8A29-33DC387B9035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181E6565-BB75-4FC0-BDA4-C1D534910490}" type="sibTrans" cxnId="{E88D4A0A-562C-4123-8A29-33DC387B9035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93B975ED-6BB0-4E02-90E6-D59B2A2D83EA}">
      <dgm:prSet phldrT="[Text]"/>
      <dgm:spPr>
        <a:solidFill>
          <a:srgbClr val="D83B01"/>
        </a:solidFill>
      </dgm:spPr>
      <dgm:t>
        <a:bodyPr/>
        <a:lstStyle/>
        <a:p>
          <a:pPr>
            <a:spcAft>
              <a:spcPct val="35000"/>
            </a:spcAft>
          </a:pPr>
          <a:r>
            <a:rPr lang="en-US" sz="1700" dirty="0">
              <a:latin typeface="Segoe UI Semibold" panose="020B0702040204020203" pitchFamily="34" charset="0"/>
              <a:cs typeface="Segoe UI Semibold" panose="020B0702040204020203" pitchFamily="34" charset="0"/>
            </a:rPr>
            <a:t>Success with Teams  Practical Guidance</a:t>
          </a:r>
        </a:p>
      </dgm:t>
    </dgm:pt>
    <dgm:pt modelId="{7699772C-6E27-485B-A5CE-4E06FA69C959}" type="parTrans" cxnId="{73A71E58-F844-41F0-94CB-AA562D89F599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EED1EB43-61B3-40EE-8656-49096B5E93B5}" type="sibTrans" cxnId="{73A71E58-F844-41F0-94CB-AA562D89F599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F138596F-A6A7-471B-B36F-0FF45066AF49}">
      <dgm:prSet phldrT="[Text]"/>
      <dgm:spPr>
        <a:solidFill>
          <a:srgbClr val="D83B01"/>
        </a:solidFill>
      </dgm:spPr>
      <dgm:t>
        <a:bodyPr/>
        <a:lstStyle/>
        <a:p>
          <a:pPr>
            <a:spcAft>
              <a:spcPct val="35000"/>
            </a:spcAft>
          </a:pPr>
          <a:r>
            <a:rPr lang="en-US" sz="1600" dirty="0">
              <a:latin typeface="Segoe UI Semibold" panose="020B0702040204020203" pitchFamily="34" charset="0"/>
              <a:cs typeface="Segoe UI Semibold" panose="020B0702040204020203" pitchFamily="34" charset="0"/>
            </a:rPr>
            <a:t>Coffee in the Cloud on YouTube</a:t>
          </a:r>
        </a:p>
      </dgm:t>
    </dgm:pt>
    <dgm:pt modelId="{8FEFA8DD-14D5-4DAC-99F9-6DA4FF0313AF}" type="parTrans" cxnId="{FB270FB2-E993-43A2-869F-56E6FC8FF290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38173359-C8AB-4AD5-8305-A9CE021D8106}" type="sibTrans" cxnId="{FB270FB2-E993-43A2-869F-56E6FC8FF290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EFB0FAD9-BD7B-483C-817A-41A9C6F2ADA0}">
      <dgm:prSet phldrT="[Text]" custT="1"/>
      <dgm:spPr>
        <a:solidFill>
          <a:srgbClr val="D83B01"/>
        </a:solidFill>
      </dgm:spPr>
      <dgm:t>
        <a:bodyPr/>
        <a:lstStyle/>
        <a:p>
          <a:r>
            <a:rPr lang="en-US" sz="1800" b="0" dirty="0">
              <a:latin typeface="Segoe WP Semibold" panose="020B0702040204020203" pitchFamily="34" charset="0"/>
              <a:cs typeface="Segoe WP Semibold" panose="020B0702040204020203" pitchFamily="34" charset="0"/>
            </a:rPr>
            <a:t>Microsoft Technical Community</a:t>
          </a:r>
        </a:p>
      </dgm:t>
    </dgm:pt>
    <dgm:pt modelId="{63B07929-1347-4186-A44F-BD07AF3F62EC}" type="parTrans" cxnId="{AD6DEE89-33FD-4D86-9692-C9EF022EDE4C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5F9427F6-B77A-426D-82E8-525CD8D89435}" type="sibTrans" cxnId="{AD6DEE89-33FD-4D86-9692-C9EF022EDE4C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862D9F56-E50C-4223-8D81-F3F6B341879D}">
      <dgm:prSet phldrT="[Text]" custT="1"/>
      <dgm:spPr>
        <a:solidFill>
          <a:srgbClr val="D83B01"/>
        </a:solidFill>
      </dgm:spPr>
      <dgm:t>
        <a:bodyPr/>
        <a:lstStyle/>
        <a:p>
          <a:pPr>
            <a:spcAft>
              <a:spcPts val="1200"/>
            </a:spcAft>
          </a:pPr>
          <a:r>
            <a:rPr lang="en-US" sz="1400" dirty="0">
              <a:latin typeface="Segoe UI Light" panose="020B0502040204020203" pitchFamily="34" charset="0"/>
              <a:cs typeface="Segoe UI Light" panose="020B0502040204020203" pitchFamily="34" charset="0"/>
            </a:rPr>
            <a:t>All public feature delivery dates</a:t>
          </a:r>
        </a:p>
      </dgm:t>
    </dgm:pt>
    <dgm:pt modelId="{85F38775-0F6C-40C6-97EC-FB248D0A0E9F}" type="parTrans" cxnId="{A3C980C1-1C23-42F7-83C6-8A98B75A5780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F51D9FC6-B652-45DC-9A6F-A313BD678C93}" type="sibTrans" cxnId="{A3C980C1-1C23-42F7-83C6-8A98B75A5780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50BD1E4C-2539-49C4-B378-13B7281C8C43}">
      <dgm:prSet phldrT="[Text]" custT="1"/>
      <dgm:spPr>
        <a:solidFill>
          <a:srgbClr val="D83B01"/>
        </a:solidFill>
      </dgm:spPr>
      <dgm:t>
        <a:bodyPr/>
        <a:lstStyle/>
        <a:p>
          <a:pPr>
            <a:spcAft>
              <a:spcPct val="15000"/>
            </a:spcAft>
          </a:pPr>
          <a:r>
            <a:rPr lang="en-US" sz="1400" dirty="0">
              <a:latin typeface="Segoe UI Light" panose="020B0502040204020203" pitchFamily="34" charset="0"/>
              <a:cs typeface="Segoe UI Light" panose="020B0502040204020203" pitchFamily="34" charset="0"/>
            </a:rPr>
            <a:t>Filter by product</a:t>
          </a:r>
        </a:p>
      </dgm:t>
    </dgm:pt>
    <dgm:pt modelId="{7A172AC9-860A-485C-B3CA-B05B055D0661}" type="parTrans" cxnId="{A3410024-CC90-4228-9AC3-32BB05E569B8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A0111B66-23A7-44ED-B3A0-80A35C59DB14}" type="sibTrans" cxnId="{A3410024-CC90-4228-9AC3-32BB05E569B8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A9529342-CACE-48F7-ABB6-70657BE4B0FA}">
      <dgm:prSet phldrT="[Text]" custT="1"/>
      <dgm:spPr>
        <a:solidFill>
          <a:srgbClr val="D83B01"/>
        </a:solidFill>
      </dgm:spPr>
      <dgm:t>
        <a:bodyPr/>
        <a:lstStyle/>
        <a:p>
          <a:r>
            <a:rPr lang="en-US" sz="1400" dirty="0">
              <a:latin typeface="Segoe UI Light" panose="020B0502040204020203" pitchFamily="34" charset="0"/>
              <a:cs typeface="Segoe UI Light" panose="020B0502040204020203" pitchFamily="34" charset="0"/>
            </a:rPr>
            <a:t>Product forums and blogs</a:t>
          </a:r>
        </a:p>
      </dgm:t>
    </dgm:pt>
    <dgm:pt modelId="{7736F837-8444-4683-8B29-1A61588A0E45}" type="parTrans" cxnId="{80CC591C-6C5D-46C6-BECB-AAEDD7F39D90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FFB9B961-9E2A-44B4-BE65-53B0F61D0730}" type="sibTrans" cxnId="{80CC591C-6C5D-46C6-BECB-AAEDD7F39D90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B80BB494-4DAC-4A5E-B094-E2E6B70EF22F}">
      <dgm:prSet phldrT="[Text]" custT="1"/>
      <dgm:spPr>
        <a:solidFill>
          <a:srgbClr val="D83B01"/>
        </a:solidFill>
      </dgm:spPr>
      <dgm:t>
        <a:bodyPr/>
        <a:lstStyle/>
        <a:p>
          <a:r>
            <a:rPr lang="en-US" sz="1400" dirty="0">
              <a:latin typeface="Segoe UI Light" panose="020B0502040204020203" pitchFamily="34" charset="0"/>
              <a:cs typeface="Segoe UI Light" panose="020B0502040204020203" pitchFamily="34" charset="0"/>
            </a:rPr>
            <a:t>Driving Adoption forum</a:t>
          </a:r>
        </a:p>
      </dgm:t>
    </dgm:pt>
    <dgm:pt modelId="{0E28EC86-E7E5-48EB-A756-0D7C7EADCC47}" type="parTrans" cxnId="{9F99D274-77AA-44FF-B4A7-6E2207056C54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2D7016C3-5E59-407C-8E51-83CF8388FCB7}" type="sibTrans" cxnId="{9F99D274-77AA-44FF-B4A7-6E2207056C54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9DF6E015-8F6D-40BC-8417-3DB85129B7EE}">
      <dgm:prSet phldrT="[Text]" custT="1"/>
      <dgm:spPr>
        <a:solidFill>
          <a:srgbClr val="D83B01"/>
        </a:solidFill>
      </dgm:spPr>
      <dgm:t>
        <a:bodyPr/>
        <a:lstStyle/>
        <a:p>
          <a:r>
            <a:rPr lang="en-US" sz="1400" dirty="0">
              <a:latin typeface="Segoe UI Light" panose="020B0502040204020203" pitchFamily="34" charset="0"/>
              <a:cs typeface="Segoe UI Light" panose="020B0502040204020203" pitchFamily="34" charset="0"/>
            </a:rPr>
            <a:t>O365 Champion’s Corner</a:t>
          </a:r>
        </a:p>
      </dgm:t>
    </dgm:pt>
    <dgm:pt modelId="{15609D91-1ECC-43E0-910F-9E9F403DACA9}" type="parTrans" cxnId="{E1E6F27B-3A1C-4A49-81C6-D51336CBB208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A55BDA87-82E8-48B9-B69A-CF17B7A1859D}" type="sibTrans" cxnId="{E1E6F27B-3A1C-4A49-81C6-D51336CBB208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61878BF7-4D31-4C3B-B9C0-0C9C2763505A}">
      <dgm:prSet phldrT="[Text]" custT="1"/>
      <dgm:spPr>
        <a:solidFill>
          <a:srgbClr val="D83B01"/>
        </a:solidFill>
      </dgm:spPr>
      <dgm:t>
        <a:bodyPr/>
        <a:lstStyle/>
        <a:p>
          <a:r>
            <a:rPr lang="en-US" sz="1400" dirty="0">
              <a:latin typeface="Segoe UI Light" panose="020B0502040204020203" pitchFamily="34" charset="0"/>
              <a:cs typeface="Segoe UI Light" panose="020B0502040204020203" pitchFamily="34" charset="0"/>
            </a:rPr>
            <a:t>Diversity &amp; Inclusion Forum</a:t>
          </a:r>
          <a:endParaRPr lang="en-US" sz="1100" dirty="0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D9C1E33B-9A0B-437A-9501-39EF9C965EC9}" type="parTrans" cxnId="{D762880D-37AC-4334-A4DA-7695EE24328C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153E6A2D-F85C-4ECF-AB89-7A7F82557FD5}" type="sibTrans" cxnId="{D762880D-37AC-4334-A4DA-7695EE24328C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87CE3CC7-7A25-4424-8D1D-BB2532A375AD}">
      <dgm:prSet phldrT="[Text]" custT="1"/>
      <dgm:spPr>
        <a:solidFill>
          <a:srgbClr val="D83B01"/>
        </a:solidFill>
      </dgm:spPr>
      <dgm:t>
        <a:bodyPr/>
        <a:lstStyle/>
        <a:p>
          <a:pPr>
            <a:spcAft>
              <a:spcPts val="1200"/>
            </a:spcAft>
          </a:pPr>
          <a:r>
            <a:rPr lang="en-US" sz="1400" dirty="0">
              <a:latin typeface="Segoe UI Light" panose="020B0502040204020203" pitchFamily="34" charset="0"/>
              <a:cs typeface="Segoe UI Light" panose="020B0502040204020203" pitchFamily="34" charset="0"/>
            </a:rPr>
            <a:t>Learn how to plan, deliver, adopt and manage Microsoft Teams</a:t>
          </a:r>
        </a:p>
      </dgm:t>
    </dgm:pt>
    <dgm:pt modelId="{F0C4DF2B-09AB-456D-BAE4-053175120EFF}" type="parTrans" cxnId="{5EDBDA40-DEF6-41AD-944A-DF3CAF003FA7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442C824F-064D-44F1-A6EE-4BB7C793B0A3}" type="sibTrans" cxnId="{5EDBDA40-DEF6-41AD-944A-DF3CAF003FA7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98FF3352-CF51-42A0-97B7-D3106290822E}">
      <dgm:prSet phldrT="[Text]" custT="1"/>
      <dgm:spPr>
        <a:solidFill>
          <a:srgbClr val="D83B01"/>
        </a:solidFill>
      </dgm:spPr>
      <dgm:t>
        <a:bodyPr/>
        <a:lstStyle/>
        <a:p>
          <a:pPr>
            <a:spcAft>
              <a:spcPct val="15000"/>
            </a:spcAft>
          </a:pPr>
          <a:r>
            <a:rPr lang="en-US" sz="1400" dirty="0">
              <a:latin typeface="Segoe UI Light" panose="020B0502040204020203" pitchFamily="34" charset="0"/>
              <a:cs typeface="Segoe UI Light" panose="020B0502040204020203" pitchFamily="34" charset="0"/>
            </a:rPr>
            <a:t>Includes Skype for Business to Teams transition guidance</a:t>
          </a:r>
        </a:p>
      </dgm:t>
    </dgm:pt>
    <dgm:pt modelId="{43A1E6C5-ED30-45E0-90B1-2A0B4835D0E8}" type="parTrans" cxnId="{01640ADE-65D3-4655-8CF7-34BD392D0B90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C165B1E3-98BB-4789-AFB4-601ED8092EBB}" type="sibTrans" cxnId="{01640ADE-65D3-4655-8CF7-34BD392D0B90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9D998C48-1391-4380-8F07-591CD2C3A671}">
      <dgm:prSet phldrT="[Text]" custT="1"/>
      <dgm:spPr>
        <a:solidFill>
          <a:srgbClr val="D83B01"/>
        </a:solidFill>
      </dgm:spPr>
      <dgm:t>
        <a:bodyPr/>
        <a:lstStyle/>
        <a:p>
          <a:pPr>
            <a:spcAft>
              <a:spcPts val="1200"/>
            </a:spcAft>
          </a:pPr>
          <a:r>
            <a:rPr lang="en-US" sz="1400" dirty="0">
              <a:latin typeface="Segoe UI Light" panose="020B0502040204020203" pitchFamily="34" charset="0"/>
              <a:cs typeface="Segoe UI Light" panose="020B0502040204020203" pitchFamily="34" charset="0"/>
            </a:rPr>
            <a:t>Short how-to videos for IT Pro’s and Champions</a:t>
          </a:r>
        </a:p>
      </dgm:t>
    </dgm:pt>
    <dgm:pt modelId="{CB8FC36A-B0D3-4CEF-92A4-2B9A0B082210}" type="parTrans" cxnId="{3F1CDD57-8445-4236-84ED-E3D7DD0C1E12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7CBE9292-A54C-4CA5-802F-12D5AFE87A2E}" type="sibTrans" cxnId="{3F1CDD57-8445-4236-84ED-E3D7DD0C1E12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1C845E3F-F53F-49E2-9368-76B1DE2EB5E8}">
      <dgm:prSet phldrT="[Text]" custT="1"/>
      <dgm:spPr>
        <a:solidFill>
          <a:srgbClr val="D83B01"/>
        </a:solidFill>
      </dgm:spPr>
      <dgm:t>
        <a:bodyPr/>
        <a:lstStyle/>
        <a:p>
          <a:pPr>
            <a:spcAft>
              <a:spcPct val="15000"/>
            </a:spcAft>
          </a:pPr>
          <a:r>
            <a:rPr lang="en-US" sz="1400" dirty="0">
              <a:latin typeface="Segoe UI Light" panose="020B0502040204020203" pitchFamily="34" charset="0"/>
              <a:cs typeface="Segoe UI Light" panose="020B0502040204020203" pitchFamily="34" charset="0"/>
            </a:rPr>
            <a:t>Long form end user &amp; administrator training</a:t>
          </a:r>
        </a:p>
      </dgm:t>
    </dgm:pt>
    <dgm:pt modelId="{FB63A91E-BF4E-44D0-8E92-5A33851311B8}" type="parTrans" cxnId="{A9F2DE3E-81CD-4CBF-817F-09CBE88395CF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9FDF96CB-B546-4019-B5E8-26F687B90176}" type="sibTrans" cxnId="{A9F2DE3E-81CD-4CBF-817F-09CBE88395CF}">
      <dgm:prSet/>
      <dgm:spPr/>
      <dgm:t>
        <a:bodyPr/>
        <a:lstStyle/>
        <a:p>
          <a:endParaRPr lang="en-US">
            <a:latin typeface="Segoe UI Light" panose="020B0502040204020203" pitchFamily="34" charset="0"/>
            <a:cs typeface="Segoe UI Light" panose="020B0502040204020203" pitchFamily="34" charset="0"/>
          </a:endParaRPr>
        </a:p>
      </dgm:t>
    </dgm:pt>
    <dgm:pt modelId="{990EB9B9-2ED1-4F86-9696-1F6445AD9CFB}" type="pres">
      <dgm:prSet presAssocID="{C3A622B8-E1AA-4E14-A8C4-9B15F761FE26}" presName="Name0" presStyleCnt="0">
        <dgm:presLayoutVars>
          <dgm:dir/>
          <dgm:resizeHandles val="exact"/>
        </dgm:presLayoutVars>
      </dgm:prSet>
      <dgm:spPr/>
    </dgm:pt>
    <dgm:pt modelId="{17AC5F60-2726-47DA-A68B-E8FCA1D55162}" type="pres">
      <dgm:prSet presAssocID="{C3A622B8-E1AA-4E14-A8C4-9B15F761FE26}" presName="fgShape" presStyleLbl="fgShp" presStyleIdx="0" presStyleCnt="1" custLinFactNeighborX="0" custLinFactNeighborY="-48841"/>
      <dgm:spPr>
        <a:noFill/>
        <a:ln>
          <a:noFill/>
        </a:ln>
      </dgm:spPr>
    </dgm:pt>
    <dgm:pt modelId="{3E5BE275-E57C-4E9F-BB82-83EB5E7AAAE6}" type="pres">
      <dgm:prSet presAssocID="{C3A622B8-E1AA-4E14-A8C4-9B15F761FE26}" presName="linComp" presStyleCnt="0"/>
      <dgm:spPr/>
    </dgm:pt>
    <dgm:pt modelId="{D7804192-637C-4ECD-9F2D-7EB172D4604F}" type="pres">
      <dgm:prSet presAssocID="{9ACA7211-75F5-42B8-93D5-0B676AE9727E}" presName="compNode" presStyleCnt="0"/>
      <dgm:spPr/>
    </dgm:pt>
    <dgm:pt modelId="{94FA51BA-303F-4B96-BDA8-CA5D17B2BBC8}" type="pres">
      <dgm:prSet presAssocID="{9ACA7211-75F5-42B8-93D5-0B676AE9727E}" presName="bkgdShape" presStyleLbl="node1" presStyleIdx="0" presStyleCnt="4"/>
      <dgm:spPr/>
    </dgm:pt>
    <dgm:pt modelId="{2FD641FE-936F-4836-9EB1-DF1D88FE0FEC}" type="pres">
      <dgm:prSet presAssocID="{9ACA7211-75F5-42B8-93D5-0B676AE9727E}" presName="nodeTx" presStyleLbl="node1" presStyleIdx="0" presStyleCnt="4">
        <dgm:presLayoutVars>
          <dgm:bulletEnabled val="1"/>
        </dgm:presLayoutVars>
      </dgm:prSet>
      <dgm:spPr/>
    </dgm:pt>
    <dgm:pt modelId="{A64F1B66-9F59-4F6B-B19E-B51EE801927D}" type="pres">
      <dgm:prSet presAssocID="{9ACA7211-75F5-42B8-93D5-0B676AE9727E}" presName="invisiNode" presStyleLbl="node1" presStyleIdx="0" presStyleCnt="4"/>
      <dgm:spPr/>
    </dgm:pt>
    <dgm:pt modelId="{B18AD341-0CFD-4219-ACBB-7D634AACF6A2}" type="pres">
      <dgm:prSet presAssocID="{9ACA7211-75F5-42B8-93D5-0B676AE9727E}" presName="imagNode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list"/>
        </a:ext>
      </dgm:extLst>
    </dgm:pt>
    <dgm:pt modelId="{44DE1472-D6D2-4372-8135-54330F1D25F7}" type="pres">
      <dgm:prSet presAssocID="{181E6565-BB75-4FC0-BDA4-C1D534910490}" presName="sibTrans" presStyleLbl="sibTrans2D1" presStyleIdx="0" presStyleCnt="0"/>
      <dgm:spPr/>
    </dgm:pt>
    <dgm:pt modelId="{799365ED-FAE8-4FDF-B1E2-41F4FAA1D2FB}" type="pres">
      <dgm:prSet presAssocID="{EFB0FAD9-BD7B-483C-817A-41A9C6F2ADA0}" presName="compNode" presStyleCnt="0"/>
      <dgm:spPr/>
    </dgm:pt>
    <dgm:pt modelId="{B86B1250-F265-4AAF-B8BB-7CF3078908B1}" type="pres">
      <dgm:prSet presAssocID="{EFB0FAD9-BD7B-483C-817A-41A9C6F2ADA0}" presName="bkgdShape" presStyleLbl="node1" presStyleIdx="1" presStyleCnt="4"/>
      <dgm:spPr/>
    </dgm:pt>
    <dgm:pt modelId="{FC1A809C-B332-482E-9FBE-060E065D9D64}" type="pres">
      <dgm:prSet presAssocID="{EFB0FAD9-BD7B-483C-817A-41A9C6F2ADA0}" presName="nodeTx" presStyleLbl="node1" presStyleIdx="1" presStyleCnt="4">
        <dgm:presLayoutVars>
          <dgm:bulletEnabled val="1"/>
        </dgm:presLayoutVars>
      </dgm:prSet>
      <dgm:spPr/>
    </dgm:pt>
    <dgm:pt modelId="{6CB3291A-6A18-444D-B69E-D2FFFA3F0F10}" type="pres">
      <dgm:prSet presAssocID="{EFB0FAD9-BD7B-483C-817A-41A9C6F2ADA0}" presName="invisiNode" presStyleLbl="node1" presStyleIdx="1" presStyleCnt="4"/>
      <dgm:spPr/>
    </dgm:pt>
    <dgm:pt modelId="{5E667F3E-691C-4200-B18C-16F7922A49F8}" type="pres">
      <dgm:prSet presAssocID="{EFB0FAD9-BD7B-483C-817A-41A9C6F2ADA0}" presName="imagNode" presStyleLbl="fgImgPlac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eeting"/>
        </a:ext>
      </dgm:extLst>
    </dgm:pt>
    <dgm:pt modelId="{650903A6-D0DC-460A-9A71-A20C0E9960DF}" type="pres">
      <dgm:prSet presAssocID="{5F9427F6-B77A-426D-82E8-525CD8D89435}" presName="sibTrans" presStyleLbl="sibTrans2D1" presStyleIdx="0" presStyleCnt="0"/>
      <dgm:spPr/>
    </dgm:pt>
    <dgm:pt modelId="{D2164E68-F5AA-43C1-BABC-9BBB9436900F}" type="pres">
      <dgm:prSet presAssocID="{93B975ED-6BB0-4E02-90E6-D59B2A2D83EA}" presName="compNode" presStyleCnt="0"/>
      <dgm:spPr/>
    </dgm:pt>
    <dgm:pt modelId="{D8E76EF0-0883-4531-AB61-4A6347FFCCF3}" type="pres">
      <dgm:prSet presAssocID="{93B975ED-6BB0-4E02-90E6-D59B2A2D83EA}" presName="bkgdShape" presStyleLbl="node1" presStyleIdx="2" presStyleCnt="4"/>
      <dgm:spPr/>
    </dgm:pt>
    <dgm:pt modelId="{63FAAD19-B08A-4FE1-9760-F8B9796E14F4}" type="pres">
      <dgm:prSet presAssocID="{93B975ED-6BB0-4E02-90E6-D59B2A2D83EA}" presName="nodeTx" presStyleLbl="node1" presStyleIdx="2" presStyleCnt="4">
        <dgm:presLayoutVars>
          <dgm:bulletEnabled val="1"/>
        </dgm:presLayoutVars>
      </dgm:prSet>
      <dgm:spPr/>
    </dgm:pt>
    <dgm:pt modelId="{2A0CD413-C64B-4FAC-BDD8-EC0D4F28BA66}" type="pres">
      <dgm:prSet presAssocID="{93B975ED-6BB0-4E02-90E6-D59B2A2D83EA}" presName="invisiNode" presStyleLbl="node1" presStyleIdx="2" presStyleCnt="4"/>
      <dgm:spPr/>
    </dgm:pt>
    <dgm:pt modelId="{3B7AFEC2-3B6C-4403-B7F0-2F83274128D0}" type="pres">
      <dgm:prSet presAssocID="{93B975ED-6BB0-4E02-90E6-D59B2A2D83EA}" presName="imagNode" presStyleLbl="fgImgPlac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Lightbulb"/>
        </a:ext>
      </dgm:extLst>
    </dgm:pt>
    <dgm:pt modelId="{98E93F41-6231-473C-8637-B661D9333186}" type="pres">
      <dgm:prSet presAssocID="{EED1EB43-61B3-40EE-8656-49096B5E93B5}" presName="sibTrans" presStyleLbl="sibTrans2D1" presStyleIdx="0" presStyleCnt="0"/>
      <dgm:spPr/>
    </dgm:pt>
    <dgm:pt modelId="{334B6F8B-9219-4D1C-B8B0-F4CB7219C0B6}" type="pres">
      <dgm:prSet presAssocID="{F138596F-A6A7-471B-B36F-0FF45066AF49}" presName="compNode" presStyleCnt="0"/>
      <dgm:spPr/>
    </dgm:pt>
    <dgm:pt modelId="{7D58F896-984B-443E-ACE3-54F05F0B770C}" type="pres">
      <dgm:prSet presAssocID="{F138596F-A6A7-471B-B36F-0FF45066AF49}" presName="bkgdShape" presStyleLbl="node1" presStyleIdx="3" presStyleCnt="4"/>
      <dgm:spPr/>
    </dgm:pt>
    <dgm:pt modelId="{E686B4F4-0F71-4657-9421-5C1445E2A5F7}" type="pres">
      <dgm:prSet presAssocID="{F138596F-A6A7-471B-B36F-0FF45066AF49}" presName="nodeTx" presStyleLbl="node1" presStyleIdx="3" presStyleCnt="4">
        <dgm:presLayoutVars>
          <dgm:bulletEnabled val="1"/>
        </dgm:presLayoutVars>
      </dgm:prSet>
      <dgm:spPr/>
    </dgm:pt>
    <dgm:pt modelId="{599C0A12-AFC9-4FDC-A8F1-14AF9F5E9B83}" type="pres">
      <dgm:prSet presAssocID="{F138596F-A6A7-471B-B36F-0FF45066AF49}" presName="invisiNode" presStyleLbl="node1" presStyleIdx="3" presStyleCnt="4"/>
      <dgm:spPr/>
    </dgm:pt>
    <dgm:pt modelId="{6E60B5DD-06AD-4F09-8695-C65F5C0C9896}" type="pres">
      <dgm:prSet presAssocID="{F138596F-A6A7-471B-B36F-0FF45066AF49}" presName="imagNode" presStyleLbl="fgImgPlac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eacher"/>
        </a:ext>
      </dgm:extLst>
    </dgm:pt>
  </dgm:ptLst>
  <dgm:cxnLst>
    <dgm:cxn modelId="{BDACB907-56D2-4E16-A687-3CC4CC1E84EE}" type="presOf" srcId="{EFB0FAD9-BD7B-483C-817A-41A9C6F2ADA0}" destId="{FC1A809C-B332-482E-9FBE-060E065D9D64}" srcOrd="1" destOrd="0" presId="urn:microsoft.com/office/officeart/2005/8/layout/hList7"/>
    <dgm:cxn modelId="{E1977009-1081-4CF1-8C60-147410515336}" type="presOf" srcId="{181E6565-BB75-4FC0-BDA4-C1D534910490}" destId="{44DE1472-D6D2-4372-8135-54330F1D25F7}" srcOrd="0" destOrd="0" presId="urn:microsoft.com/office/officeart/2005/8/layout/hList7"/>
    <dgm:cxn modelId="{E88D4A0A-562C-4123-8A29-33DC387B9035}" srcId="{C3A622B8-E1AA-4E14-A8C4-9B15F761FE26}" destId="{9ACA7211-75F5-42B8-93D5-0B676AE9727E}" srcOrd="0" destOrd="0" parTransId="{4484D32F-EE26-4FDB-8634-C8D8A4C5F081}" sibTransId="{181E6565-BB75-4FC0-BDA4-C1D534910490}"/>
    <dgm:cxn modelId="{D762880D-37AC-4334-A4DA-7695EE24328C}" srcId="{EFB0FAD9-BD7B-483C-817A-41A9C6F2ADA0}" destId="{61878BF7-4D31-4C3B-B9C0-0C9C2763505A}" srcOrd="3" destOrd="0" parTransId="{D9C1E33B-9A0B-437A-9501-39EF9C965EC9}" sibTransId="{153E6A2D-F85C-4ECF-AB89-7A7F82557FD5}"/>
    <dgm:cxn modelId="{4368DA0D-21B1-4E4F-AE51-045A1AE53C3D}" type="presOf" srcId="{93B975ED-6BB0-4E02-90E6-D59B2A2D83EA}" destId="{63FAAD19-B08A-4FE1-9760-F8B9796E14F4}" srcOrd="1" destOrd="0" presId="urn:microsoft.com/office/officeart/2005/8/layout/hList7"/>
    <dgm:cxn modelId="{65B12211-C5D5-4EC1-BC6D-3D2BBE4E6ABA}" type="presOf" srcId="{5F9427F6-B77A-426D-82E8-525CD8D89435}" destId="{650903A6-D0DC-460A-9A71-A20C0E9960DF}" srcOrd="0" destOrd="0" presId="urn:microsoft.com/office/officeart/2005/8/layout/hList7"/>
    <dgm:cxn modelId="{3B938111-7FBD-4C5C-8188-723B6D3C2860}" type="presOf" srcId="{93B975ED-6BB0-4E02-90E6-D59B2A2D83EA}" destId="{D8E76EF0-0883-4531-AB61-4A6347FFCCF3}" srcOrd="0" destOrd="0" presId="urn:microsoft.com/office/officeart/2005/8/layout/hList7"/>
    <dgm:cxn modelId="{2B51E017-9CD4-4ECF-BF5E-509506F88BEE}" type="presOf" srcId="{A9529342-CACE-48F7-ABB6-70657BE4B0FA}" destId="{FC1A809C-B332-482E-9FBE-060E065D9D64}" srcOrd="1" destOrd="1" presId="urn:microsoft.com/office/officeart/2005/8/layout/hList7"/>
    <dgm:cxn modelId="{80CC591C-6C5D-46C6-BECB-AAEDD7F39D90}" srcId="{EFB0FAD9-BD7B-483C-817A-41A9C6F2ADA0}" destId="{A9529342-CACE-48F7-ABB6-70657BE4B0FA}" srcOrd="0" destOrd="0" parTransId="{7736F837-8444-4683-8B29-1A61588A0E45}" sibTransId="{FFB9B961-9E2A-44B4-BE65-53B0F61D0730}"/>
    <dgm:cxn modelId="{A3410024-CC90-4228-9AC3-32BB05E569B8}" srcId="{9ACA7211-75F5-42B8-93D5-0B676AE9727E}" destId="{50BD1E4C-2539-49C4-B378-13B7281C8C43}" srcOrd="1" destOrd="0" parTransId="{7A172AC9-860A-485C-B3CA-B05B055D0661}" sibTransId="{A0111B66-23A7-44ED-B3A0-80A35C59DB14}"/>
    <dgm:cxn modelId="{DAC89624-9837-4289-A8AC-51214F3C1B09}" type="presOf" srcId="{98FF3352-CF51-42A0-97B7-D3106290822E}" destId="{D8E76EF0-0883-4531-AB61-4A6347FFCCF3}" srcOrd="0" destOrd="2" presId="urn:microsoft.com/office/officeart/2005/8/layout/hList7"/>
    <dgm:cxn modelId="{78D2BE31-140D-49D9-87CE-40937DC57F56}" type="presOf" srcId="{9DF6E015-8F6D-40BC-8417-3DB85129B7EE}" destId="{FC1A809C-B332-482E-9FBE-060E065D9D64}" srcOrd="1" destOrd="3" presId="urn:microsoft.com/office/officeart/2005/8/layout/hList7"/>
    <dgm:cxn modelId="{5F63F033-1601-43E5-8ABC-D558BD6A736C}" type="presOf" srcId="{862D9F56-E50C-4223-8D81-F3F6B341879D}" destId="{94FA51BA-303F-4B96-BDA8-CA5D17B2BBC8}" srcOrd="0" destOrd="1" presId="urn:microsoft.com/office/officeart/2005/8/layout/hList7"/>
    <dgm:cxn modelId="{D8CEF137-3FCA-4867-94E3-4984C91AA910}" type="presOf" srcId="{9ACA7211-75F5-42B8-93D5-0B676AE9727E}" destId="{2FD641FE-936F-4836-9EB1-DF1D88FE0FEC}" srcOrd="1" destOrd="0" presId="urn:microsoft.com/office/officeart/2005/8/layout/hList7"/>
    <dgm:cxn modelId="{3EDBD33A-5937-4F8A-97C8-80567AB0CCB7}" type="presOf" srcId="{EFB0FAD9-BD7B-483C-817A-41A9C6F2ADA0}" destId="{B86B1250-F265-4AAF-B8BB-7CF3078908B1}" srcOrd="0" destOrd="0" presId="urn:microsoft.com/office/officeart/2005/8/layout/hList7"/>
    <dgm:cxn modelId="{8BEE1C3C-5ACA-49B8-8A18-0EC5827FC203}" type="presOf" srcId="{9DF6E015-8F6D-40BC-8417-3DB85129B7EE}" destId="{B86B1250-F265-4AAF-B8BB-7CF3078908B1}" srcOrd="0" destOrd="3" presId="urn:microsoft.com/office/officeart/2005/8/layout/hList7"/>
    <dgm:cxn modelId="{A9F2DE3E-81CD-4CBF-817F-09CBE88395CF}" srcId="{F138596F-A6A7-471B-B36F-0FF45066AF49}" destId="{1C845E3F-F53F-49E2-9368-76B1DE2EB5E8}" srcOrd="1" destOrd="0" parTransId="{FB63A91E-BF4E-44D0-8E92-5A33851311B8}" sibTransId="{9FDF96CB-B546-4019-B5E8-26F687B90176}"/>
    <dgm:cxn modelId="{5EDBDA40-DEF6-41AD-944A-DF3CAF003FA7}" srcId="{93B975ED-6BB0-4E02-90E6-D59B2A2D83EA}" destId="{87CE3CC7-7A25-4424-8D1D-BB2532A375AD}" srcOrd="0" destOrd="0" parTransId="{F0C4DF2B-09AB-456D-BAE4-053175120EFF}" sibTransId="{442C824F-064D-44F1-A6EE-4BB7C793B0A3}"/>
    <dgm:cxn modelId="{3350805C-6D55-4C7F-8100-68E1A9CC6E9F}" type="presOf" srcId="{1C845E3F-F53F-49E2-9368-76B1DE2EB5E8}" destId="{7D58F896-984B-443E-ACE3-54F05F0B770C}" srcOrd="0" destOrd="2" presId="urn:microsoft.com/office/officeart/2005/8/layout/hList7"/>
    <dgm:cxn modelId="{7ABB7E64-5405-4365-BF97-D870E35ED7FD}" type="presOf" srcId="{B80BB494-4DAC-4A5E-B094-E2E6B70EF22F}" destId="{FC1A809C-B332-482E-9FBE-060E065D9D64}" srcOrd="1" destOrd="2" presId="urn:microsoft.com/office/officeart/2005/8/layout/hList7"/>
    <dgm:cxn modelId="{D2AE9C4B-5C61-462A-B12D-55B14B828020}" type="presOf" srcId="{9D998C48-1391-4380-8F07-591CD2C3A671}" destId="{7D58F896-984B-443E-ACE3-54F05F0B770C}" srcOrd="0" destOrd="1" presId="urn:microsoft.com/office/officeart/2005/8/layout/hList7"/>
    <dgm:cxn modelId="{A200496F-EE68-4057-BDB9-A01D399A0943}" type="presOf" srcId="{A9529342-CACE-48F7-ABB6-70657BE4B0FA}" destId="{B86B1250-F265-4AAF-B8BB-7CF3078908B1}" srcOrd="0" destOrd="1" presId="urn:microsoft.com/office/officeart/2005/8/layout/hList7"/>
    <dgm:cxn modelId="{EBA4D154-1BB2-4B62-A635-829E1D534B92}" type="presOf" srcId="{F138596F-A6A7-471B-B36F-0FF45066AF49}" destId="{7D58F896-984B-443E-ACE3-54F05F0B770C}" srcOrd="0" destOrd="0" presId="urn:microsoft.com/office/officeart/2005/8/layout/hList7"/>
    <dgm:cxn modelId="{9F99D274-77AA-44FF-B4A7-6E2207056C54}" srcId="{EFB0FAD9-BD7B-483C-817A-41A9C6F2ADA0}" destId="{B80BB494-4DAC-4A5E-B094-E2E6B70EF22F}" srcOrd="1" destOrd="0" parTransId="{0E28EC86-E7E5-48EB-A756-0D7C7EADCC47}" sibTransId="{2D7016C3-5E59-407C-8E51-83CF8388FCB7}"/>
    <dgm:cxn modelId="{3F1CDD57-8445-4236-84ED-E3D7DD0C1E12}" srcId="{F138596F-A6A7-471B-B36F-0FF45066AF49}" destId="{9D998C48-1391-4380-8F07-591CD2C3A671}" srcOrd="0" destOrd="0" parTransId="{CB8FC36A-B0D3-4CEF-92A4-2B9A0B082210}" sibTransId="{7CBE9292-A54C-4CA5-802F-12D5AFE87A2E}"/>
    <dgm:cxn modelId="{73A71E58-F844-41F0-94CB-AA562D89F599}" srcId="{C3A622B8-E1AA-4E14-A8C4-9B15F761FE26}" destId="{93B975ED-6BB0-4E02-90E6-D59B2A2D83EA}" srcOrd="2" destOrd="0" parTransId="{7699772C-6E27-485B-A5CE-4E06FA69C959}" sibTransId="{EED1EB43-61B3-40EE-8656-49096B5E93B5}"/>
    <dgm:cxn modelId="{EAF5735A-3F22-4D0F-94E1-ADC04B9AA4A8}" type="presOf" srcId="{9ACA7211-75F5-42B8-93D5-0B676AE9727E}" destId="{94FA51BA-303F-4B96-BDA8-CA5D17B2BBC8}" srcOrd="0" destOrd="0" presId="urn:microsoft.com/office/officeart/2005/8/layout/hList7"/>
    <dgm:cxn modelId="{E1E6F27B-3A1C-4A49-81C6-D51336CBB208}" srcId="{EFB0FAD9-BD7B-483C-817A-41A9C6F2ADA0}" destId="{9DF6E015-8F6D-40BC-8417-3DB85129B7EE}" srcOrd="2" destOrd="0" parTransId="{15609D91-1ECC-43E0-910F-9E9F403DACA9}" sibTransId="{A55BDA87-82E8-48B9-B69A-CF17B7A1859D}"/>
    <dgm:cxn modelId="{2DFFE382-B229-4682-A3AE-256C1E645E4C}" type="presOf" srcId="{862D9F56-E50C-4223-8D81-F3F6B341879D}" destId="{2FD641FE-936F-4836-9EB1-DF1D88FE0FEC}" srcOrd="1" destOrd="1" presId="urn:microsoft.com/office/officeart/2005/8/layout/hList7"/>
    <dgm:cxn modelId="{6D551889-851C-4040-AAA6-BD4B82FBCFC4}" type="presOf" srcId="{50BD1E4C-2539-49C4-B378-13B7281C8C43}" destId="{94FA51BA-303F-4B96-BDA8-CA5D17B2BBC8}" srcOrd="0" destOrd="2" presId="urn:microsoft.com/office/officeart/2005/8/layout/hList7"/>
    <dgm:cxn modelId="{AD6DEE89-33FD-4D86-9692-C9EF022EDE4C}" srcId="{C3A622B8-E1AA-4E14-A8C4-9B15F761FE26}" destId="{EFB0FAD9-BD7B-483C-817A-41A9C6F2ADA0}" srcOrd="1" destOrd="0" parTransId="{63B07929-1347-4186-A44F-BD07AF3F62EC}" sibTransId="{5F9427F6-B77A-426D-82E8-525CD8D89435}"/>
    <dgm:cxn modelId="{85090F95-4A0F-4517-AD6C-EE6384D7ED45}" type="presOf" srcId="{87CE3CC7-7A25-4424-8D1D-BB2532A375AD}" destId="{63FAAD19-B08A-4FE1-9760-F8B9796E14F4}" srcOrd="1" destOrd="1" presId="urn:microsoft.com/office/officeart/2005/8/layout/hList7"/>
    <dgm:cxn modelId="{22CC9F96-3BF8-4E32-AB2F-3B1931BE64C9}" type="presOf" srcId="{61878BF7-4D31-4C3B-B9C0-0C9C2763505A}" destId="{FC1A809C-B332-482E-9FBE-060E065D9D64}" srcOrd="1" destOrd="4" presId="urn:microsoft.com/office/officeart/2005/8/layout/hList7"/>
    <dgm:cxn modelId="{A636D497-AB37-4964-B749-6AB883EB956D}" type="presOf" srcId="{61878BF7-4D31-4C3B-B9C0-0C9C2763505A}" destId="{B86B1250-F265-4AAF-B8BB-7CF3078908B1}" srcOrd="0" destOrd="4" presId="urn:microsoft.com/office/officeart/2005/8/layout/hList7"/>
    <dgm:cxn modelId="{618A70A9-4491-47F0-A8CA-4AC599B56AAB}" type="presOf" srcId="{1C845E3F-F53F-49E2-9368-76B1DE2EB5E8}" destId="{E686B4F4-0F71-4657-9421-5C1445E2A5F7}" srcOrd="1" destOrd="2" presId="urn:microsoft.com/office/officeart/2005/8/layout/hList7"/>
    <dgm:cxn modelId="{FB270FB2-E993-43A2-869F-56E6FC8FF290}" srcId="{C3A622B8-E1AA-4E14-A8C4-9B15F761FE26}" destId="{F138596F-A6A7-471B-B36F-0FF45066AF49}" srcOrd="3" destOrd="0" parTransId="{8FEFA8DD-14D5-4DAC-99F9-6DA4FF0313AF}" sibTransId="{38173359-C8AB-4AD5-8305-A9CE021D8106}"/>
    <dgm:cxn modelId="{70B3A2BE-3497-44AB-99F4-B06A9E40A0B8}" type="presOf" srcId="{C3A622B8-E1AA-4E14-A8C4-9B15F761FE26}" destId="{990EB9B9-2ED1-4F86-9696-1F6445AD9CFB}" srcOrd="0" destOrd="0" presId="urn:microsoft.com/office/officeart/2005/8/layout/hList7"/>
    <dgm:cxn modelId="{A3C980C1-1C23-42F7-83C6-8A98B75A5780}" srcId="{9ACA7211-75F5-42B8-93D5-0B676AE9727E}" destId="{862D9F56-E50C-4223-8D81-F3F6B341879D}" srcOrd="0" destOrd="0" parTransId="{85F38775-0F6C-40C6-97EC-FB248D0A0E9F}" sibTransId="{F51D9FC6-B652-45DC-9A6F-A313BD678C93}"/>
    <dgm:cxn modelId="{7FB3B2CD-07E3-4ACA-83A1-316E1E7D9984}" type="presOf" srcId="{50BD1E4C-2539-49C4-B378-13B7281C8C43}" destId="{2FD641FE-936F-4836-9EB1-DF1D88FE0FEC}" srcOrd="1" destOrd="2" presId="urn:microsoft.com/office/officeart/2005/8/layout/hList7"/>
    <dgm:cxn modelId="{F30C8FD2-7780-4154-8F3E-91E829B08FFE}" type="presOf" srcId="{B80BB494-4DAC-4A5E-B094-E2E6B70EF22F}" destId="{B86B1250-F265-4AAF-B8BB-7CF3078908B1}" srcOrd="0" destOrd="2" presId="urn:microsoft.com/office/officeart/2005/8/layout/hList7"/>
    <dgm:cxn modelId="{B074B0D4-78D2-4C6C-8500-066EB5090010}" type="presOf" srcId="{98FF3352-CF51-42A0-97B7-D3106290822E}" destId="{63FAAD19-B08A-4FE1-9760-F8B9796E14F4}" srcOrd="1" destOrd="2" presId="urn:microsoft.com/office/officeart/2005/8/layout/hList7"/>
    <dgm:cxn modelId="{F246C7D9-B129-4EE5-82AD-0226873EED82}" type="presOf" srcId="{9D998C48-1391-4380-8F07-591CD2C3A671}" destId="{E686B4F4-0F71-4657-9421-5C1445E2A5F7}" srcOrd="1" destOrd="1" presId="urn:microsoft.com/office/officeart/2005/8/layout/hList7"/>
    <dgm:cxn modelId="{EE0BF6DC-E331-449B-9BC2-390DB1DE6483}" type="presOf" srcId="{EED1EB43-61B3-40EE-8656-49096B5E93B5}" destId="{98E93F41-6231-473C-8637-B661D9333186}" srcOrd="0" destOrd="0" presId="urn:microsoft.com/office/officeart/2005/8/layout/hList7"/>
    <dgm:cxn modelId="{01640ADE-65D3-4655-8CF7-34BD392D0B90}" srcId="{93B975ED-6BB0-4E02-90E6-D59B2A2D83EA}" destId="{98FF3352-CF51-42A0-97B7-D3106290822E}" srcOrd="1" destOrd="0" parTransId="{43A1E6C5-ED30-45E0-90B1-2A0B4835D0E8}" sibTransId="{C165B1E3-98BB-4789-AFB4-601ED8092EBB}"/>
    <dgm:cxn modelId="{2C2BBCEC-DED6-472D-9887-0A7007EFED71}" type="presOf" srcId="{87CE3CC7-7A25-4424-8D1D-BB2532A375AD}" destId="{D8E76EF0-0883-4531-AB61-4A6347FFCCF3}" srcOrd="0" destOrd="1" presId="urn:microsoft.com/office/officeart/2005/8/layout/hList7"/>
    <dgm:cxn modelId="{98E2B1ED-63C4-4A55-86A2-85A068806194}" type="presOf" srcId="{F138596F-A6A7-471B-B36F-0FF45066AF49}" destId="{E686B4F4-0F71-4657-9421-5C1445E2A5F7}" srcOrd="1" destOrd="0" presId="urn:microsoft.com/office/officeart/2005/8/layout/hList7"/>
    <dgm:cxn modelId="{0297EB96-6DCB-4214-A75A-10796AD6C0EF}" type="presParOf" srcId="{990EB9B9-2ED1-4F86-9696-1F6445AD9CFB}" destId="{17AC5F60-2726-47DA-A68B-E8FCA1D55162}" srcOrd="0" destOrd="0" presId="urn:microsoft.com/office/officeart/2005/8/layout/hList7"/>
    <dgm:cxn modelId="{7B4EE0CD-167B-44F8-A57E-33C707513BEB}" type="presParOf" srcId="{990EB9B9-2ED1-4F86-9696-1F6445AD9CFB}" destId="{3E5BE275-E57C-4E9F-BB82-83EB5E7AAAE6}" srcOrd="1" destOrd="0" presId="urn:microsoft.com/office/officeart/2005/8/layout/hList7"/>
    <dgm:cxn modelId="{96F9B0CD-600A-4767-8ABC-54CC54A792BC}" type="presParOf" srcId="{3E5BE275-E57C-4E9F-BB82-83EB5E7AAAE6}" destId="{D7804192-637C-4ECD-9F2D-7EB172D4604F}" srcOrd="0" destOrd="0" presId="urn:microsoft.com/office/officeart/2005/8/layout/hList7"/>
    <dgm:cxn modelId="{1B415EA5-B772-4D3E-A507-83EC308A7821}" type="presParOf" srcId="{D7804192-637C-4ECD-9F2D-7EB172D4604F}" destId="{94FA51BA-303F-4B96-BDA8-CA5D17B2BBC8}" srcOrd="0" destOrd="0" presId="urn:microsoft.com/office/officeart/2005/8/layout/hList7"/>
    <dgm:cxn modelId="{4778978B-D43F-4221-90F2-3748816FDE2E}" type="presParOf" srcId="{D7804192-637C-4ECD-9F2D-7EB172D4604F}" destId="{2FD641FE-936F-4836-9EB1-DF1D88FE0FEC}" srcOrd="1" destOrd="0" presId="urn:microsoft.com/office/officeart/2005/8/layout/hList7"/>
    <dgm:cxn modelId="{DABB41F5-66A7-4340-A70B-392ED4D6D2F4}" type="presParOf" srcId="{D7804192-637C-4ECD-9F2D-7EB172D4604F}" destId="{A64F1B66-9F59-4F6B-B19E-B51EE801927D}" srcOrd="2" destOrd="0" presId="urn:microsoft.com/office/officeart/2005/8/layout/hList7"/>
    <dgm:cxn modelId="{13E2119F-F3D8-4CDC-8AD1-B5FD2BB78FA6}" type="presParOf" srcId="{D7804192-637C-4ECD-9F2D-7EB172D4604F}" destId="{B18AD341-0CFD-4219-ACBB-7D634AACF6A2}" srcOrd="3" destOrd="0" presId="urn:microsoft.com/office/officeart/2005/8/layout/hList7"/>
    <dgm:cxn modelId="{A879EC09-A790-4F85-BFFC-A2A3DFF0C7E1}" type="presParOf" srcId="{3E5BE275-E57C-4E9F-BB82-83EB5E7AAAE6}" destId="{44DE1472-D6D2-4372-8135-54330F1D25F7}" srcOrd="1" destOrd="0" presId="urn:microsoft.com/office/officeart/2005/8/layout/hList7"/>
    <dgm:cxn modelId="{09116CC1-A66C-4427-A721-7E66FE687896}" type="presParOf" srcId="{3E5BE275-E57C-4E9F-BB82-83EB5E7AAAE6}" destId="{799365ED-FAE8-4FDF-B1E2-41F4FAA1D2FB}" srcOrd="2" destOrd="0" presId="urn:microsoft.com/office/officeart/2005/8/layout/hList7"/>
    <dgm:cxn modelId="{1A885198-5E4B-4F99-A44C-32BC84A2C14D}" type="presParOf" srcId="{799365ED-FAE8-4FDF-B1E2-41F4FAA1D2FB}" destId="{B86B1250-F265-4AAF-B8BB-7CF3078908B1}" srcOrd="0" destOrd="0" presId="urn:microsoft.com/office/officeart/2005/8/layout/hList7"/>
    <dgm:cxn modelId="{C2C4189C-791A-4738-9195-EF28C2C55A35}" type="presParOf" srcId="{799365ED-FAE8-4FDF-B1E2-41F4FAA1D2FB}" destId="{FC1A809C-B332-482E-9FBE-060E065D9D64}" srcOrd="1" destOrd="0" presId="urn:microsoft.com/office/officeart/2005/8/layout/hList7"/>
    <dgm:cxn modelId="{8C439D51-52EC-4514-83E0-8E56517DAFB0}" type="presParOf" srcId="{799365ED-FAE8-4FDF-B1E2-41F4FAA1D2FB}" destId="{6CB3291A-6A18-444D-B69E-D2FFFA3F0F10}" srcOrd="2" destOrd="0" presId="urn:microsoft.com/office/officeart/2005/8/layout/hList7"/>
    <dgm:cxn modelId="{617C323E-851B-4E74-A7FB-B48E0DD8CB0C}" type="presParOf" srcId="{799365ED-FAE8-4FDF-B1E2-41F4FAA1D2FB}" destId="{5E667F3E-691C-4200-B18C-16F7922A49F8}" srcOrd="3" destOrd="0" presId="urn:microsoft.com/office/officeart/2005/8/layout/hList7"/>
    <dgm:cxn modelId="{DED921C6-CC3B-4452-A20E-35CEADFD4A7A}" type="presParOf" srcId="{3E5BE275-E57C-4E9F-BB82-83EB5E7AAAE6}" destId="{650903A6-D0DC-460A-9A71-A20C0E9960DF}" srcOrd="3" destOrd="0" presId="urn:microsoft.com/office/officeart/2005/8/layout/hList7"/>
    <dgm:cxn modelId="{0E57B16D-9966-4638-90CF-D048DF5F307C}" type="presParOf" srcId="{3E5BE275-E57C-4E9F-BB82-83EB5E7AAAE6}" destId="{D2164E68-F5AA-43C1-BABC-9BBB9436900F}" srcOrd="4" destOrd="0" presId="urn:microsoft.com/office/officeart/2005/8/layout/hList7"/>
    <dgm:cxn modelId="{D17DFB7F-47D7-4922-B9B2-B3E6B0A3C829}" type="presParOf" srcId="{D2164E68-F5AA-43C1-BABC-9BBB9436900F}" destId="{D8E76EF0-0883-4531-AB61-4A6347FFCCF3}" srcOrd="0" destOrd="0" presId="urn:microsoft.com/office/officeart/2005/8/layout/hList7"/>
    <dgm:cxn modelId="{F19F26F7-2DAA-465A-8C6F-D73CD191353D}" type="presParOf" srcId="{D2164E68-F5AA-43C1-BABC-9BBB9436900F}" destId="{63FAAD19-B08A-4FE1-9760-F8B9796E14F4}" srcOrd="1" destOrd="0" presId="urn:microsoft.com/office/officeart/2005/8/layout/hList7"/>
    <dgm:cxn modelId="{BA333154-5741-4381-BDB6-7B2513F476B2}" type="presParOf" srcId="{D2164E68-F5AA-43C1-BABC-9BBB9436900F}" destId="{2A0CD413-C64B-4FAC-BDD8-EC0D4F28BA66}" srcOrd="2" destOrd="0" presId="urn:microsoft.com/office/officeart/2005/8/layout/hList7"/>
    <dgm:cxn modelId="{33038DFD-921F-4FFB-AFC8-44933E74E02A}" type="presParOf" srcId="{D2164E68-F5AA-43C1-BABC-9BBB9436900F}" destId="{3B7AFEC2-3B6C-4403-B7F0-2F83274128D0}" srcOrd="3" destOrd="0" presId="urn:microsoft.com/office/officeart/2005/8/layout/hList7"/>
    <dgm:cxn modelId="{5E2AB96E-C75E-45E6-AA66-9EE63F3D8BC0}" type="presParOf" srcId="{3E5BE275-E57C-4E9F-BB82-83EB5E7AAAE6}" destId="{98E93F41-6231-473C-8637-B661D9333186}" srcOrd="5" destOrd="0" presId="urn:microsoft.com/office/officeart/2005/8/layout/hList7"/>
    <dgm:cxn modelId="{43416CD0-0AA4-453C-AC56-16E3D76DE828}" type="presParOf" srcId="{3E5BE275-E57C-4E9F-BB82-83EB5E7AAAE6}" destId="{334B6F8B-9219-4D1C-B8B0-F4CB7219C0B6}" srcOrd="6" destOrd="0" presId="urn:microsoft.com/office/officeart/2005/8/layout/hList7"/>
    <dgm:cxn modelId="{73FF0611-4EF1-41A8-A668-7BB70E7B7094}" type="presParOf" srcId="{334B6F8B-9219-4D1C-B8B0-F4CB7219C0B6}" destId="{7D58F896-984B-443E-ACE3-54F05F0B770C}" srcOrd="0" destOrd="0" presId="urn:microsoft.com/office/officeart/2005/8/layout/hList7"/>
    <dgm:cxn modelId="{D177B4DF-AD11-4345-A60B-F5388B0CE12D}" type="presParOf" srcId="{334B6F8B-9219-4D1C-B8B0-F4CB7219C0B6}" destId="{E686B4F4-0F71-4657-9421-5C1445E2A5F7}" srcOrd="1" destOrd="0" presId="urn:microsoft.com/office/officeart/2005/8/layout/hList7"/>
    <dgm:cxn modelId="{DC2C0169-A7EE-429B-9598-641955A713D8}" type="presParOf" srcId="{334B6F8B-9219-4D1C-B8B0-F4CB7219C0B6}" destId="{599C0A12-AFC9-4FDC-A8F1-14AF9F5E9B83}" srcOrd="2" destOrd="0" presId="urn:microsoft.com/office/officeart/2005/8/layout/hList7"/>
    <dgm:cxn modelId="{64B6A48A-FCE4-4B23-9947-8BB13B697946}" type="presParOf" srcId="{334B6F8B-9219-4D1C-B8B0-F4CB7219C0B6}" destId="{6E60B5DD-06AD-4F09-8695-C65F5C0C9896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FA51BA-303F-4B96-BDA8-CA5D17B2BBC8}">
      <dsp:nvSpPr>
        <dsp:cNvPr id="0" name=""/>
        <dsp:cNvSpPr/>
      </dsp:nvSpPr>
      <dsp:spPr>
        <a:xfrm>
          <a:off x="2632" y="0"/>
          <a:ext cx="2759312" cy="4269815"/>
        </a:xfrm>
        <a:prstGeom prst="roundRect">
          <a:avLst>
            <a:gd name="adj" fmla="val 10000"/>
          </a:avLst>
        </a:prstGeom>
        <a:solidFill>
          <a:srgbClr val="D83B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1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Segoe UI Semibold" panose="020B0702040204020203" pitchFamily="34" charset="0"/>
              <a:cs typeface="Segoe UI Semibold" panose="020B0702040204020203" pitchFamily="34" charset="0"/>
            </a:rPr>
            <a:t>Office 365 Roadmap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en-US" sz="140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All public feature delivery dat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Filter by product</a:t>
          </a:r>
        </a:p>
      </dsp:txBody>
      <dsp:txXfrm>
        <a:off x="2632" y="1707926"/>
        <a:ext cx="2759312" cy="1707926"/>
      </dsp:txXfrm>
    </dsp:sp>
    <dsp:sp modelId="{B18AD341-0CFD-4219-ACBB-7D634AACF6A2}">
      <dsp:nvSpPr>
        <dsp:cNvPr id="0" name=""/>
        <dsp:cNvSpPr/>
      </dsp:nvSpPr>
      <dsp:spPr>
        <a:xfrm>
          <a:off x="671364" y="256188"/>
          <a:ext cx="1421848" cy="1421848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6B1250-F265-4AAF-B8BB-7CF3078908B1}">
      <dsp:nvSpPr>
        <dsp:cNvPr id="0" name=""/>
        <dsp:cNvSpPr/>
      </dsp:nvSpPr>
      <dsp:spPr>
        <a:xfrm>
          <a:off x="2844724" y="0"/>
          <a:ext cx="2759312" cy="4269815"/>
        </a:xfrm>
        <a:prstGeom prst="roundRect">
          <a:avLst>
            <a:gd name="adj" fmla="val 10000"/>
          </a:avLst>
        </a:prstGeom>
        <a:solidFill>
          <a:srgbClr val="D83B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1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>
              <a:latin typeface="Segoe WP Semibold" panose="020B0702040204020203" pitchFamily="34" charset="0"/>
              <a:cs typeface="Segoe WP Semibold" panose="020B0702040204020203" pitchFamily="34" charset="0"/>
            </a:rPr>
            <a:t>Microsoft Technical Community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Product forums and blog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Driving Adoption forum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O365 Champion’s Corner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Diversity &amp; Inclusion Forum</a:t>
          </a:r>
          <a:endParaRPr lang="en-US" sz="1100" kern="1200" dirty="0">
            <a:latin typeface="Segoe UI Light" panose="020B0502040204020203" pitchFamily="34" charset="0"/>
            <a:cs typeface="Segoe UI Light" panose="020B0502040204020203" pitchFamily="34" charset="0"/>
          </a:endParaRPr>
        </a:p>
      </dsp:txBody>
      <dsp:txXfrm>
        <a:off x="2844724" y="1707926"/>
        <a:ext cx="2759312" cy="1707926"/>
      </dsp:txXfrm>
    </dsp:sp>
    <dsp:sp modelId="{5E667F3E-691C-4200-B18C-16F7922A49F8}">
      <dsp:nvSpPr>
        <dsp:cNvPr id="0" name=""/>
        <dsp:cNvSpPr/>
      </dsp:nvSpPr>
      <dsp:spPr>
        <a:xfrm>
          <a:off x="3513456" y="256188"/>
          <a:ext cx="1421848" cy="1421848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E76EF0-0883-4531-AB61-4A6347FFCCF3}">
      <dsp:nvSpPr>
        <dsp:cNvPr id="0" name=""/>
        <dsp:cNvSpPr/>
      </dsp:nvSpPr>
      <dsp:spPr>
        <a:xfrm>
          <a:off x="5686815" y="0"/>
          <a:ext cx="2759312" cy="4269815"/>
        </a:xfrm>
        <a:prstGeom prst="roundRect">
          <a:avLst>
            <a:gd name="adj" fmla="val 10000"/>
          </a:avLst>
        </a:prstGeom>
        <a:solidFill>
          <a:srgbClr val="D83B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Segoe UI Semibold" panose="020B0702040204020203" pitchFamily="34" charset="0"/>
              <a:cs typeface="Segoe UI Semibold" panose="020B0702040204020203" pitchFamily="34" charset="0"/>
            </a:rPr>
            <a:t>Success with Teams  Practical Guidanc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en-US" sz="140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Learn how to plan, deliver, adopt and manage Microsoft Team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Includes Skype for Business to Teams transition guidance</a:t>
          </a:r>
        </a:p>
      </dsp:txBody>
      <dsp:txXfrm>
        <a:off x="5686815" y="1707926"/>
        <a:ext cx="2759312" cy="1707926"/>
      </dsp:txXfrm>
    </dsp:sp>
    <dsp:sp modelId="{3B7AFEC2-3B6C-4403-B7F0-2F83274128D0}">
      <dsp:nvSpPr>
        <dsp:cNvPr id="0" name=""/>
        <dsp:cNvSpPr/>
      </dsp:nvSpPr>
      <dsp:spPr>
        <a:xfrm>
          <a:off x="6355547" y="256188"/>
          <a:ext cx="1421848" cy="1421848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58F896-984B-443E-ACE3-54F05F0B770C}">
      <dsp:nvSpPr>
        <dsp:cNvPr id="0" name=""/>
        <dsp:cNvSpPr/>
      </dsp:nvSpPr>
      <dsp:spPr>
        <a:xfrm>
          <a:off x="8528907" y="0"/>
          <a:ext cx="2759312" cy="4269815"/>
        </a:xfrm>
        <a:prstGeom prst="roundRect">
          <a:avLst>
            <a:gd name="adj" fmla="val 10000"/>
          </a:avLst>
        </a:prstGeom>
        <a:solidFill>
          <a:srgbClr val="D83B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Segoe UI Semibold" panose="020B0702040204020203" pitchFamily="34" charset="0"/>
              <a:cs typeface="Segoe UI Semibold" panose="020B0702040204020203" pitchFamily="34" charset="0"/>
            </a:rPr>
            <a:t>Coffee in the Cloud on YouTub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en-US" sz="140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Short how-to videos for IT Pro’s and Champion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Long form end user &amp; administrator training</a:t>
          </a:r>
        </a:p>
      </dsp:txBody>
      <dsp:txXfrm>
        <a:off x="8528907" y="1707926"/>
        <a:ext cx="2759312" cy="1707926"/>
      </dsp:txXfrm>
    </dsp:sp>
    <dsp:sp modelId="{6E60B5DD-06AD-4F09-8695-C65F5C0C9896}">
      <dsp:nvSpPr>
        <dsp:cNvPr id="0" name=""/>
        <dsp:cNvSpPr/>
      </dsp:nvSpPr>
      <dsp:spPr>
        <a:xfrm>
          <a:off x="9197639" y="256188"/>
          <a:ext cx="1421848" cy="1421848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AC5F60-2726-47DA-A68B-E8FCA1D55162}">
      <dsp:nvSpPr>
        <dsp:cNvPr id="0" name=""/>
        <dsp:cNvSpPr/>
      </dsp:nvSpPr>
      <dsp:spPr>
        <a:xfrm>
          <a:off x="451634" y="3103038"/>
          <a:ext cx="10387583" cy="640472"/>
        </a:xfrm>
        <a:prstGeom prst="leftRightArrow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89524E-8887-4208-B836-3BEAF7ECA208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7CBD46-7FCA-4B9A-8546-2D2AD152F1A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824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M365Links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en-us/learning/community-blog.aspx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en-us/learning/community-blog.aspx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rawpixel.com from </a:t>
            </a:r>
            <a:r>
              <a:rPr lang="en-US" dirty="0" err="1"/>
              <a:t>Pexel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8232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/>
              </a:rPr>
              <a:t>https://go.granikos.eu/M365Link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6238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1283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388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ponsor-Slid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627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5230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6128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5521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9344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/>
              </a:rPr>
              <a:t>https://www.microsoft.com/en-us/learning/community-blog.aspx</a:t>
            </a:r>
            <a:r>
              <a:rPr lang="de-DE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8046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/>
              </a:rPr>
              <a:t>https://www.microsoft.com/en-us/learning/community-blog.aspx</a:t>
            </a:r>
            <a:r>
              <a:rPr lang="de-DE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1908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www.microsoft.com/de-de/ignite-the-tour?WT.mc_id=M365-MVP-5003086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CBD46-7FCA-4B9A-8546-2D2AD152F1A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357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0EE191-5491-42E4-995C-B31F84DE8A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03142DE-A8EF-4884-AC87-0069FCA627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CBA8E2-6F8A-499A-9EB5-B072B1ADF8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E6ABF4-34F3-4F72-88F1-FF3D43378B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28E395D-83BE-4EB1-A602-862D963BA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6491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6BE48C-5A83-48C6-A625-FB4A35E87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8A1C9CB4-C021-4AD9-BAF1-D7C9D4B039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C026007-512C-40D4-90D5-BFC7E5471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890096-E553-4A6D-92BD-44367CAF8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86C9303-CF0C-46F7-8471-8F1668A88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229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4B1914B-EFDE-481F-95FD-5194E316DB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76E1434-6D12-44B6-BB35-A170132138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6265F1-DBE0-44CE-8F5D-C37A23854A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B7BE842-5D69-4C65-BC87-AB83E73B2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FE6127B-05FA-4AFF-AE01-4DF59B0F8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9660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6FD1CBA-A4E0-4DBB-BC9B-CC4AB95E380F}"/>
              </a:ext>
            </a:extLst>
          </p:cNvPr>
          <p:cNvSpPr/>
          <p:nvPr userDrawn="1"/>
        </p:nvSpPr>
        <p:spPr>
          <a:xfrm>
            <a:off x="646771" y="520390"/>
            <a:ext cx="7701775" cy="5657386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0EE191-5491-42E4-995C-B31F84DE8A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03142DE-A8EF-4884-AC87-0069FCA627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007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8E0799-6043-4EF8-A9A5-E955E50EB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5A76E99-805A-49DE-9DC7-A02BBC9A0B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1FAA21-FC45-4526-8CE3-5A6BBFF41E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A390B8-2426-43A2-BF21-379966F84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6C6EBA-34AE-4025-8EA5-620FE8973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2503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5D1F3C-90A7-4F73-B2C7-4636F049E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67075D-A668-4FE8-9408-E0E52676F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5252D82-1CAD-4EC8-B5C7-7812001022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24A637-A5E0-4B58-8B8C-66C627B40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CFC819-3058-488D-99DF-4F4B80CD61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726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1C6213-E24A-4F4C-A56C-9BCBD3058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5282A8C-F8A8-429F-B6ED-3C0A9DA543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39B05A2-1084-4F61-9782-A840194BC8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558BDF4-0C39-4E5C-8EF1-D61C9696E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0C41166-2613-4D74-8367-54B11CCC69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A52B51-2AE9-42B4-B519-304D34536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250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98E3C3-F857-4173-8B95-AE40A0533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5231716-E548-46D4-8A4F-C16B68A23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0563C3F-D2D7-4B8D-8F8F-BEFEC80B74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7DA33B1-98BA-49CE-8D0F-ECDD289BF0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F8CAEC4-4AB0-4BB3-A891-6E96560B30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3E994C1-4B7B-4C53-BF56-290FB0ECE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A4EB7D1-D96B-4FBC-B00A-C7CE2C920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832D869-99E0-4C91-892A-7C72852EB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6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446127-AE00-4A0F-9D5B-24B0E6FC4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EA058A3-2DFA-465B-854D-2564D7FBDC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B95E25-5A68-442B-A8D6-F1E9917D3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FB85C2-F4B6-4D17-8B48-E79E9008C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5298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A978FEB-A580-4EC3-8517-354E14292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DCCB3CA-E295-47B4-BE0E-E15B853B3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7C8761A-9DD8-4815-BA41-D677ABAD0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2279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B10272-E060-4E85-A471-2888AB3F87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E57DD81-F88C-4282-92D5-AA224A475E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104C549-907E-48F9-ABA5-218E5EED00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568B5DF-08C9-4FCF-B7BF-6C380C0AF4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234C58-11BD-4E59-9FC9-C600C516E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1B595C5-CFFF-4A28-AEA7-8D7D714AE0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8764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83F5E4-3FED-493A-A30D-E43390D3ED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5E7E98C-B76D-4AEB-98BB-A4B5DE4400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2823B5E-E23D-4D4E-9BF4-C686521767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E3782BE-5075-4D05-87A7-1DD3AECAEA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86932F1-C31B-4C15-9DBA-0CEA8E4125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3CDFE9-2281-473B-B07F-1FD1D4948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356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8F1DC59-FEB7-4C8D-ADB4-B97470F6E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0AC3D29-04A5-4614-8CD3-054FAF7D0B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C50F2B7-3E1F-41F6-A5AE-4D99F405E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95D528-363C-4659-A6F4-C708176DE485}" type="datetimeFigureOut">
              <a:rPr lang="en-US" smtClean="0"/>
              <a:t>11/2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D5A3C4-0A88-4DA3-A3DB-F5FC0A330B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5B246A-F79A-45A2-8EF5-6ED402501E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961DF8-5A33-491F-9D0E-B4682BF4A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301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8F1DC59-FEB7-4C8D-ADB4-B97470F6E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0AC3D29-04A5-4614-8CD3-054FAF7D0B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808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en-us/microsoft-365/blog/2019/11/04/from-new-microsoft-teams-experiences-to-the-all-new-project-cortex-heres-whats-coming-soon-to-microsoft-365/" TargetMode="Externa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techcommunity.microsoft.com/t5/Microsoft-Teams-Blog/What-s-New-in-Microsoft-Teams-Microsoft-Ignite-2019/ba-p/937025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o.granikos.eu/Ignite2019AAD" TargetMode="External"/><Relationship Id="rId5" Type="http://schemas.openxmlformats.org/officeDocument/2006/relationships/hyperlink" Target="https://go.granikos.eu/Ignite2019ExchangeOutlook" TargetMode="External"/><Relationship Id="rId4" Type="http://schemas.openxmlformats.org/officeDocument/2006/relationships/hyperlink" Target="https://go.granikos.eu/Ignite2019Teams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crosoft.com/learning" TargetMode="Externa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hyperlink" Target="https://docs.microsoft.com/de-de/learn/?WT.mc_id=M365-MVP-5003086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2.jpeg"/><Relationship Id="rId7" Type="http://schemas.openxmlformats.org/officeDocument/2006/relationships/hyperlink" Target="https://go.granikos.eu/MSLearningBlog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icrosoft.com/en-us/learning/community-blog-post.aspx?BlogId=8&amp;Id=375263" TargetMode="External"/><Relationship Id="rId5" Type="http://schemas.openxmlformats.org/officeDocument/2006/relationships/hyperlink" Target="https://www.microsoft.com/en-us/learning/community-blog-post.aspx?BlogId=8&amp;Id=375261" TargetMode="External"/><Relationship Id="rId4" Type="http://schemas.openxmlformats.org/officeDocument/2006/relationships/hyperlink" Target="https://www.microsoft.com/en-us/learning/community-blog-post.aspx?BlogId=8&amp;Id=375254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icrosoft.com/de-de/ignite-the-tour?WT.mc_id=M365-MVP-5003086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hyperlink" Target="https://resources.techcommunity.microsoft.com/teamwork-governance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aka.ms/TeamsToolkit" TargetMode="External"/><Relationship Id="rId5" Type="http://schemas.openxmlformats.org/officeDocument/2006/relationships/hyperlink" Target="https://aka.ms/M365AG" TargetMode="External"/><Relationship Id="rId4" Type="http://schemas.openxmlformats.org/officeDocument/2006/relationships/hyperlink" Target="https://aka.ms/microsoftadoption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hyperlink" Target="NULL" TargetMode="External"/><Relationship Id="rId7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JustCantGetEnough.Granikos.eu" TargetMode="External"/><Relationship Id="rId5" Type="http://schemas.openxmlformats.org/officeDocument/2006/relationships/hyperlink" Target="http://Bblog.granikos.eu" TargetMode="External"/><Relationship Id="rId4" Type="http://schemas.openxmlformats.org/officeDocument/2006/relationships/hyperlink" Target="NULL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9">
            <a:extLst>
              <a:ext uri="{FF2B5EF4-FFF2-40B4-BE49-F238E27FC236}">
                <a16:creationId xmlns:a16="http://schemas.microsoft.com/office/drawing/2014/main" id="{2A0E4E09-FC02-4ADC-951A-3FFA90B6FE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Ein Bild, das Person, Tisch, Laptop, drinnen enthält.&#10;&#10;Automatisch generierte Beschreibung">
            <a:extLst>
              <a:ext uri="{FF2B5EF4-FFF2-40B4-BE49-F238E27FC236}">
                <a16:creationId xmlns:a16="http://schemas.microsoft.com/office/drawing/2014/main" id="{3BFEF4CC-F20A-4B6B-87C3-790472F710D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22" r="19533" b="2"/>
          <a:stretch/>
        </p:blipFill>
        <p:spPr>
          <a:xfrm>
            <a:off x="-979324" y="-1"/>
            <a:ext cx="6423053" cy="6858001"/>
          </a:xfrm>
          <a:prstGeom prst="rect">
            <a:avLst/>
          </a:prstGeom>
        </p:spPr>
      </p:pic>
      <p:pic>
        <p:nvPicPr>
          <p:cNvPr id="19" name="Picture 11">
            <a:extLst>
              <a:ext uri="{FF2B5EF4-FFF2-40B4-BE49-F238E27FC236}">
                <a16:creationId xmlns:a16="http://schemas.microsoft.com/office/drawing/2014/main" id="{24F266AD-725B-4A9D-B448-4C000F95CB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EC15350-37BC-4297-83B5-793828767D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48272" y="3992591"/>
            <a:ext cx="4800261" cy="1644592"/>
          </a:xfrm>
        </p:spPr>
        <p:txBody>
          <a:bodyPr anchor="t">
            <a:normAutofit/>
          </a:bodyPr>
          <a:lstStyle/>
          <a:p>
            <a:pPr algn="l"/>
            <a:r>
              <a:rPr lang="en-US" sz="4400" dirty="0">
                <a:solidFill>
                  <a:srgbClr val="000000"/>
                </a:solidFill>
              </a:rPr>
              <a:t>Microsoft Teams</a:t>
            </a:r>
            <a:br>
              <a:rPr lang="en-US" sz="4400" dirty="0">
                <a:solidFill>
                  <a:srgbClr val="000000"/>
                </a:solidFill>
              </a:rPr>
            </a:br>
            <a:r>
              <a:rPr lang="en-US" sz="4400" dirty="0">
                <a:solidFill>
                  <a:srgbClr val="000000"/>
                </a:solidFill>
              </a:rPr>
              <a:t>Meetup Berli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CA5EC23-BD0A-406D-A05E-E69B661C94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48272" y="3153758"/>
            <a:ext cx="4711745" cy="838831"/>
          </a:xfrm>
        </p:spPr>
        <p:txBody>
          <a:bodyPr anchor="b">
            <a:normAutofit/>
          </a:bodyPr>
          <a:lstStyle/>
          <a:p>
            <a:pPr algn="l"/>
            <a:r>
              <a:rPr lang="en-US" sz="1800" dirty="0">
                <a:solidFill>
                  <a:srgbClr val="000000"/>
                </a:solidFill>
              </a:rPr>
              <a:t>6. Meetup | 2019-11-27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5BEDA4B-D883-452F-91F8-81CE46E9BA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482" y="349656"/>
            <a:ext cx="20351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588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5" y="587829"/>
            <a:ext cx="6096000" cy="5078313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4000" dirty="0"/>
              <a:t>Teams | Neuigkeiten</a:t>
            </a:r>
            <a:endParaRPr lang="de-DE" sz="2800" dirty="0">
              <a:cs typeface="Calibri"/>
            </a:endParaRPr>
          </a:p>
          <a:p>
            <a:endParaRPr lang="de-DE" sz="2800" dirty="0"/>
          </a:p>
          <a:p>
            <a:r>
              <a:rPr lang="de-DE" sz="2800" dirty="0">
                <a:cs typeface="Calibri"/>
              </a:rPr>
              <a:t>Ankündigungen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de-DE" sz="2000" dirty="0"/>
              <a:t>Blog: </a:t>
            </a:r>
            <a:r>
              <a:rPr lang="de-DE" sz="2000" dirty="0" err="1">
                <a:hlinkClick r:id="rId3"/>
              </a:rPr>
              <a:t>From</a:t>
            </a:r>
            <a:r>
              <a:rPr lang="de-DE" sz="2000" dirty="0">
                <a:hlinkClick r:id="rId3"/>
              </a:rPr>
              <a:t> </a:t>
            </a:r>
            <a:r>
              <a:rPr lang="de-DE" sz="2000" dirty="0" err="1">
                <a:hlinkClick r:id="rId3"/>
              </a:rPr>
              <a:t>new</a:t>
            </a:r>
            <a:r>
              <a:rPr lang="de-DE" sz="2000" dirty="0">
                <a:hlinkClick r:id="rId3"/>
              </a:rPr>
              <a:t> Microsoft Teams </a:t>
            </a:r>
            <a:r>
              <a:rPr lang="de-DE" sz="2000" dirty="0" err="1">
                <a:hlinkClick r:id="rId3"/>
              </a:rPr>
              <a:t>experiences</a:t>
            </a:r>
            <a:r>
              <a:rPr lang="de-DE" sz="2000" dirty="0">
                <a:hlinkClick r:id="rId3"/>
              </a:rPr>
              <a:t> </a:t>
            </a:r>
            <a:r>
              <a:rPr lang="de-DE" sz="2000" dirty="0" err="1">
                <a:hlinkClick r:id="rId3"/>
              </a:rPr>
              <a:t>to</a:t>
            </a:r>
            <a:r>
              <a:rPr lang="de-DE" sz="2000" dirty="0">
                <a:hlinkClick r:id="rId3"/>
              </a:rPr>
              <a:t> the all-</a:t>
            </a:r>
            <a:r>
              <a:rPr lang="de-DE" sz="2000" dirty="0" err="1">
                <a:hlinkClick r:id="rId3"/>
              </a:rPr>
              <a:t>new</a:t>
            </a:r>
            <a:r>
              <a:rPr lang="de-DE" sz="2000" dirty="0">
                <a:hlinkClick r:id="rId3"/>
              </a:rPr>
              <a:t> Project Cortex—</a:t>
            </a:r>
            <a:r>
              <a:rPr lang="de-DE" sz="2000" dirty="0" err="1">
                <a:hlinkClick r:id="rId3"/>
              </a:rPr>
              <a:t>here’s</a:t>
            </a:r>
            <a:r>
              <a:rPr lang="de-DE" sz="2000" dirty="0">
                <a:hlinkClick r:id="rId3"/>
              </a:rPr>
              <a:t> </a:t>
            </a:r>
            <a:r>
              <a:rPr lang="de-DE" sz="2000" dirty="0" err="1">
                <a:hlinkClick r:id="rId3"/>
              </a:rPr>
              <a:t>what’s</a:t>
            </a:r>
            <a:r>
              <a:rPr lang="de-DE" sz="2000" dirty="0">
                <a:hlinkClick r:id="rId3"/>
              </a:rPr>
              <a:t> </a:t>
            </a:r>
            <a:r>
              <a:rPr lang="de-DE" sz="2000" dirty="0" err="1">
                <a:hlinkClick r:id="rId3"/>
              </a:rPr>
              <a:t>coming</a:t>
            </a:r>
            <a:r>
              <a:rPr lang="de-DE" sz="2000" dirty="0">
                <a:hlinkClick r:id="rId3"/>
              </a:rPr>
              <a:t> </a:t>
            </a:r>
            <a:r>
              <a:rPr lang="de-DE" sz="2000" dirty="0" err="1">
                <a:hlinkClick r:id="rId3"/>
              </a:rPr>
              <a:t>soon</a:t>
            </a:r>
            <a:r>
              <a:rPr lang="de-DE" sz="2000" dirty="0">
                <a:hlinkClick r:id="rId3"/>
              </a:rPr>
              <a:t> </a:t>
            </a:r>
            <a:r>
              <a:rPr lang="de-DE" sz="2000" dirty="0" err="1">
                <a:hlinkClick r:id="rId3"/>
              </a:rPr>
              <a:t>to</a:t>
            </a:r>
            <a:r>
              <a:rPr lang="de-DE" sz="2000" dirty="0">
                <a:hlinkClick r:id="rId3"/>
              </a:rPr>
              <a:t> Microsoft 365</a:t>
            </a:r>
            <a:endParaRPr lang="de-DE" sz="2000" dirty="0"/>
          </a:p>
          <a:p>
            <a:endParaRPr lang="de-DE" sz="2800" dirty="0">
              <a:cs typeface="Calibri"/>
            </a:endParaRPr>
          </a:p>
          <a:p>
            <a:endParaRPr lang="de-DE" sz="2800" dirty="0">
              <a:cs typeface="Calibri"/>
            </a:endParaRPr>
          </a:p>
          <a:p>
            <a:endParaRPr lang="de-DE" sz="2800" dirty="0">
              <a:cs typeface="Calibri"/>
            </a:endParaRPr>
          </a:p>
          <a:p>
            <a:endParaRPr lang="de-DE" sz="2800" dirty="0">
              <a:cs typeface="Calibri"/>
            </a:endParaRPr>
          </a:p>
          <a:p>
            <a:endParaRPr lang="de-DE" sz="2800" dirty="0">
              <a:cs typeface="Calibri"/>
            </a:endParaRP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665669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4" y="587829"/>
            <a:ext cx="6753778" cy="5693866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000" dirty="0" err="1"/>
              <a:t>Ankündigungen</a:t>
            </a:r>
            <a:endParaRPr lang="en-US" sz="4000" dirty="0"/>
          </a:p>
          <a:p>
            <a:r>
              <a:rPr lang="en-US" sz="2400" b="1" dirty="0"/>
              <a:t>Core Productivity 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Teams calling features now include emergency calling and </a:t>
            </a:r>
            <a:br>
              <a:rPr lang="en-US" sz="2000" dirty="0"/>
            </a:br>
            <a:r>
              <a:rPr lang="en-US" sz="2000" dirty="0"/>
              <a:t>music while on hold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Teams enhancements in Microsoft Teams Rooms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Teams features help IT administrators to securely manage </a:t>
            </a:r>
            <a:br>
              <a:rPr lang="en-US" sz="2000" dirty="0"/>
            </a:br>
            <a:r>
              <a:rPr lang="en-US" sz="2000" dirty="0"/>
              <a:t>Teams users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Teams features now allow for more ways to customize </a:t>
            </a:r>
            <a:br>
              <a:rPr lang="en-US" sz="2000" dirty="0"/>
            </a:br>
            <a:r>
              <a:rPr lang="en-US" sz="2000" dirty="0"/>
              <a:t>conversations and Teams experience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Teams features make meetings more inclusive and flexible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Teams for </a:t>
            </a:r>
            <a:r>
              <a:rPr lang="en-US" sz="2000" dirty="0" err="1"/>
              <a:t>firstline</a:t>
            </a:r>
            <a:r>
              <a:rPr lang="en-US" sz="2000" dirty="0"/>
              <a:t> workers updates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Teams for virtual consultation scenarios across industries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endParaRPr lang="en-US" sz="20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Blog: </a:t>
            </a:r>
            <a:r>
              <a:rPr lang="en-US" sz="2000" dirty="0">
                <a:hlinkClick r:id="rId4"/>
              </a:rPr>
              <a:t>New innovations in Microsoft Teams enhance collaboration and business processes for all workers</a:t>
            </a:r>
            <a:endParaRPr lang="en-US" sz="20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endParaRPr lang="en-US" sz="2000" dirty="0"/>
          </a:p>
          <a:p>
            <a:pPr>
              <a:buClr>
                <a:schemeClr val="accent1"/>
              </a:buClr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143203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4" y="587829"/>
            <a:ext cx="6753778" cy="4154984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000" dirty="0"/>
              <a:t>Ignite 2019 Sessions</a:t>
            </a:r>
          </a:p>
          <a:p>
            <a:endParaRPr lang="en-US" sz="2400" b="1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Microsoft Teams</a:t>
            </a:r>
            <a:br>
              <a:rPr lang="en-US" sz="2000" dirty="0"/>
            </a:br>
            <a:r>
              <a:rPr lang="en-US" sz="2000" dirty="0">
                <a:hlinkClick r:id="rId4"/>
              </a:rPr>
              <a:t>https://go.granikos.eu/Ignite2019Teams</a:t>
            </a:r>
            <a:r>
              <a:rPr lang="en-US" sz="2000" dirty="0"/>
              <a:t> 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endParaRPr lang="en-US" sz="20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Exchange &amp; Outlook</a:t>
            </a:r>
            <a:br>
              <a:rPr lang="en-US" sz="2000" dirty="0"/>
            </a:br>
            <a:r>
              <a:rPr lang="en-US" sz="2000" dirty="0">
                <a:hlinkClick r:id="rId5"/>
              </a:rPr>
              <a:t>https://go.granikos.eu/Ignite2019ExchangeOutlook</a:t>
            </a:r>
            <a:r>
              <a:rPr lang="en-US" sz="2000" dirty="0"/>
              <a:t> 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endParaRPr lang="en-US" sz="20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Azure AD</a:t>
            </a:r>
            <a:br>
              <a:rPr lang="en-US" sz="2000" dirty="0"/>
            </a:br>
            <a:r>
              <a:rPr lang="en-US" sz="2000" dirty="0">
                <a:hlinkClick r:id="rId6"/>
              </a:rPr>
              <a:t>https://go.granikos.eu/Ignite2019AAD</a:t>
            </a:r>
            <a:r>
              <a:rPr lang="en-US" sz="2000" dirty="0"/>
              <a:t> 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endParaRPr lang="en-US" sz="2000" dirty="0"/>
          </a:p>
          <a:p>
            <a:pPr>
              <a:buClr>
                <a:schemeClr val="accent1"/>
              </a:buClr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472135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5" y="587829"/>
            <a:ext cx="6096000" cy="3108543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000" dirty="0"/>
              <a:t>Microsoft Learn</a:t>
            </a:r>
            <a:endParaRPr lang="en-US" sz="2800" dirty="0">
              <a:cs typeface="Calibri"/>
            </a:endParaRPr>
          </a:p>
          <a:p>
            <a:endParaRPr lang="en-US" sz="28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Integration in Microsoft Docs </a:t>
            </a:r>
            <a:r>
              <a:rPr lang="en-US" sz="2000" dirty="0" err="1"/>
              <a:t>Plattform</a:t>
            </a:r>
            <a:endParaRPr lang="en-US" sz="20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Start </a:t>
            </a:r>
            <a:r>
              <a:rPr lang="en-US" sz="2000" dirty="0" err="1"/>
              <a:t>mit</a:t>
            </a:r>
            <a:r>
              <a:rPr lang="en-US" sz="2000" dirty="0"/>
              <a:t> EN, </a:t>
            </a:r>
            <a:r>
              <a:rPr lang="en-US" sz="2000" dirty="0" err="1"/>
              <a:t>andere</a:t>
            </a:r>
            <a:r>
              <a:rPr lang="en-US" sz="2000" dirty="0"/>
              <a:t> </a:t>
            </a:r>
            <a:r>
              <a:rPr lang="en-US" sz="2000" dirty="0" err="1"/>
              <a:t>Sprachen</a:t>
            </a:r>
            <a:r>
              <a:rPr lang="en-US" sz="2000" dirty="0"/>
              <a:t> </a:t>
            </a:r>
            <a:r>
              <a:rPr lang="en-US" sz="2000" dirty="0" err="1"/>
              <a:t>folgen</a:t>
            </a:r>
            <a:endParaRPr lang="en-US" sz="20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Migration der </a:t>
            </a:r>
            <a:r>
              <a:rPr lang="en-US" sz="2000" dirty="0" err="1"/>
              <a:t>Inhalte</a:t>
            </a:r>
            <a:r>
              <a:rPr lang="en-US" sz="2000" dirty="0"/>
              <a:t> von </a:t>
            </a:r>
            <a:r>
              <a:rPr lang="en-US" sz="2000" dirty="0">
                <a:hlinkClick r:id="rId3"/>
              </a:rPr>
              <a:t>https://www.Microsoft.com/learning</a:t>
            </a:r>
            <a:r>
              <a:rPr lang="en-US" sz="2000" dirty="0"/>
              <a:t> </a:t>
            </a:r>
            <a:r>
              <a:rPr lang="en-US" sz="2000" dirty="0" err="1"/>
              <a:t>zu</a:t>
            </a:r>
            <a:r>
              <a:rPr lang="en-US" sz="2000" dirty="0"/>
              <a:t> </a:t>
            </a:r>
            <a:r>
              <a:rPr lang="en-US" sz="2000" dirty="0">
                <a:hlinkClick r:id="rId4"/>
              </a:rPr>
              <a:t>https://docs.microsoft.com/de-de/learn</a:t>
            </a:r>
            <a:endParaRPr lang="en-US" sz="2000" dirty="0"/>
          </a:p>
          <a:p>
            <a:endParaRPr lang="en-US" sz="2800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301B7FA-0B26-400B-8E22-BC29930BDB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3571" y="3580169"/>
            <a:ext cx="6591090" cy="322412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6994000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4" y="587829"/>
            <a:ext cx="6768645" cy="4524315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600" dirty="0">
                <a:solidFill>
                  <a:schemeClr val="accent2">
                    <a:lumMod val="50000"/>
                  </a:schemeClr>
                </a:solidFill>
              </a:rPr>
              <a:t>Most adults would rather avoid trying a new behavior than risk being seen as a fool.</a:t>
            </a:r>
          </a:p>
          <a:p>
            <a:r>
              <a:rPr lang="en-US" sz="3600" dirty="0">
                <a:solidFill>
                  <a:schemeClr val="accent2"/>
                </a:solidFill>
              </a:rPr>
              <a:t>Emphasize the benefit of the learning over instant achievement and perfect result.</a:t>
            </a:r>
          </a:p>
          <a:p>
            <a:endParaRPr lang="en-US" sz="2400" dirty="0"/>
          </a:p>
          <a:p>
            <a:pPr algn="r"/>
            <a:r>
              <a:rPr lang="en-US" sz="2400" dirty="0"/>
              <a:t>- Peter Renner</a:t>
            </a:r>
            <a:br>
              <a:rPr lang="en-US" sz="2400" dirty="0"/>
            </a:br>
            <a:r>
              <a:rPr lang="en-US" sz="2400" dirty="0"/>
              <a:t>The Art of Teaching</a:t>
            </a:r>
          </a:p>
        </p:txBody>
      </p:sp>
      <p:pic>
        <p:nvPicPr>
          <p:cNvPr id="3" name="Grafik 2" descr="Schließendes Anführungszeichen">
            <a:extLst>
              <a:ext uri="{FF2B5EF4-FFF2-40B4-BE49-F238E27FC236}">
                <a16:creationId xmlns:a16="http://schemas.microsoft.com/office/drawing/2014/main" id="{8085647A-12A5-4E78-86D2-FB39BAD75D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2657" y="13062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5323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0" b="12832"/>
          <a:stretch/>
        </p:blipFill>
        <p:spPr>
          <a:xfrm>
            <a:off x="20" y="-148673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5" y="587829"/>
            <a:ext cx="6096000" cy="5570756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000" dirty="0"/>
              <a:t>Microsoft Learn</a:t>
            </a:r>
            <a:endParaRPr lang="en-US" sz="2800" dirty="0">
              <a:cs typeface="Calibri"/>
            </a:endParaRPr>
          </a:p>
          <a:p>
            <a:endParaRPr lang="en-US" sz="28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 err="1"/>
              <a:t>Konsolidierung</a:t>
            </a:r>
            <a:r>
              <a:rPr lang="en-US" sz="2000" dirty="0"/>
              <a:t> von </a:t>
            </a:r>
            <a:r>
              <a:rPr lang="en-US" sz="2000" dirty="0" err="1"/>
              <a:t>Inhalten</a:t>
            </a:r>
            <a:br>
              <a:rPr lang="en-US" sz="2000" dirty="0"/>
            </a:br>
            <a:r>
              <a:rPr lang="en-US" sz="2000" dirty="0"/>
              <a:t>MS-100/-101, MS-200/-201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Beta-</a:t>
            </a:r>
            <a:r>
              <a:rPr lang="en-US" sz="2000" dirty="0" err="1"/>
              <a:t>Prüfungen</a:t>
            </a:r>
            <a:br>
              <a:rPr lang="en-US" sz="2000" dirty="0"/>
            </a:br>
            <a:r>
              <a:rPr lang="en-US" sz="2000" dirty="0"/>
              <a:t>MS-700 </a:t>
            </a:r>
            <a:r>
              <a:rPr lang="en-US" sz="2000" dirty="0">
                <a:hlinkClick r:id="rId4"/>
              </a:rPr>
              <a:t>Microsoft 365 Certified: Teams Administrator Associate</a:t>
            </a:r>
            <a:br>
              <a:rPr lang="en-US" sz="2000" dirty="0"/>
            </a:br>
            <a:r>
              <a:rPr lang="en-US" sz="2000" dirty="0"/>
              <a:t>PL-900 </a:t>
            </a:r>
            <a:r>
              <a:rPr lang="en-US" sz="2000" dirty="0">
                <a:hlinkClick r:id="rId5"/>
              </a:rPr>
              <a:t>Microsoft Power Platform Fundamentals Beta</a:t>
            </a:r>
            <a:endParaRPr lang="en-US" sz="20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 err="1"/>
              <a:t>Schwerpunkt</a:t>
            </a:r>
            <a:r>
              <a:rPr lang="en-US" sz="2000" dirty="0"/>
              <a:t>: Dynamics 365</a:t>
            </a:r>
            <a:br>
              <a:rPr lang="en-US" sz="2000" dirty="0"/>
            </a:br>
            <a:r>
              <a:rPr lang="en-US" sz="2000" dirty="0">
                <a:hlinkClick r:id="rId6"/>
              </a:rPr>
              <a:t>Microsoft Learn: Dynamics 365 certification and exam names are changing</a:t>
            </a:r>
            <a:endParaRPr lang="en-US" sz="20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endParaRPr lang="en-US" sz="20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r>
              <a:rPr lang="en-US" sz="2000" dirty="0"/>
              <a:t>Microsoft Learning Blog</a:t>
            </a:r>
            <a:br>
              <a:rPr lang="en-US" sz="2000" dirty="0"/>
            </a:br>
            <a:r>
              <a:rPr lang="en-US" sz="2000" dirty="0">
                <a:hlinkClick r:id="rId7"/>
              </a:rPr>
              <a:t>https://go.granikos.eu/MSLearningBlog</a:t>
            </a:r>
            <a:r>
              <a:rPr lang="en-US" sz="2000" dirty="0"/>
              <a:t> </a:t>
            </a:r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endParaRPr lang="en-US" sz="2000" dirty="0"/>
          </a:p>
          <a:p>
            <a:endParaRPr lang="en-US" sz="2800" dirty="0"/>
          </a:p>
        </p:txBody>
      </p:sp>
      <p:pic>
        <p:nvPicPr>
          <p:cNvPr id="6" name="Grafik 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EF84E65-02CD-45AA-A609-AB7553FD9F6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0199" y="4653776"/>
            <a:ext cx="1463685" cy="14636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84366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0" b="12832"/>
          <a:stretch/>
        </p:blipFill>
        <p:spPr>
          <a:xfrm>
            <a:off x="20" y="-148673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5" y="587829"/>
            <a:ext cx="6605094" cy="1877437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000" dirty="0"/>
              <a:t>Teams </a:t>
            </a:r>
            <a:r>
              <a:rPr lang="en-US" sz="4000" dirty="0" err="1"/>
              <a:t>Anwendungsbeispiele</a:t>
            </a:r>
            <a:endParaRPr lang="en-US" sz="2800" dirty="0">
              <a:cs typeface="Calibri"/>
            </a:endParaRPr>
          </a:p>
          <a:p>
            <a:endParaRPr lang="en-US" sz="2800" dirty="0"/>
          </a:p>
          <a:p>
            <a:pPr marL="342900" indent="-342900">
              <a:buClr>
                <a:schemeClr val="accent1"/>
              </a:buClr>
              <a:buFont typeface="Calibri" panose="020F0502020204030204" pitchFamily="34" charset="0"/>
              <a:buChar char="⁞"/>
            </a:pPr>
            <a:endParaRPr lang="en-US" sz="20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5386827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5" y="587829"/>
            <a:ext cx="6096000" cy="4154984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4000" dirty="0"/>
              <a:t>Microsoft Teams ​| Feedback</a:t>
            </a:r>
          </a:p>
          <a:p>
            <a:endParaRPr lang="de-DE" sz="2800" dirty="0">
              <a:cs typeface="Calibri"/>
            </a:endParaRPr>
          </a:p>
          <a:p>
            <a:r>
              <a:rPr lang="de-DE" sz="2800" dirty="0">
                <a:cs typeface="Calibri"/>
                <a:sym typeface="Wingdings" panose="05000000000000000000" pitchFamily="2" charset="2"/>
              </a:rPr>
              <a:t>Lokalisierung Teams Clients</a:t>
            </a:r>
          </a:p>
          <a:p>
            <a:r>
              <a:rPr lang="de-DE" sz="2800" dirty="0">
                <a:cs typeface="Calibri"/>
                <a:sym typeface="Wingdings" panose="05000000000000000000" pitchFamily="2" charset="2"/>
              </a:rPr>
              <a:t>Lokalisierung Admin Portal</a:t>
            </a:r>
          </a:p>
          <a:p>
            <a:r>
              <a:rPr lang="de-DE" sz="2800" dirty="0"/>
              <a:t>Verhalten von Teams Funktionen</a:t>
            </a:r>
          </a:p>
          <a:p>
            <a:r>
              <a:rPr lang="de-DE" sz="2800" dirty="0"/>
              <a:t>Neue Funktionen für Teams</a:t>
            </a:r>
          </a:p>
          <a:p>
            <a:endParaRPr lang="de-DE" sz="2800" dirty="0"/>
          </a:p>
          <a:p>
            <a:endParaRPr lang="de-DE" sz="2800" dirty="0"/>
          </a:p>
          <a:p>
            <a:r>
              <a:rPr lang="de-DE" sz="2800" dirty="0"/>
              <a:t>Separates Meetup Team in Teams?</a:t>
            </a:r>
          </a:p>
        </p:txBody>
      </p:sp>
    </p:spTree>
    <p:extLst>
      <p:ext uri="{BB962C8B-B14F-4D97-AF65-F5344CB8AC3E}">
        <p14:creationId xmlns:p14="http://schemas.microsoft.com/office/powerpoint/2010/main" val="36701184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90" b="12832"/>
          <a:stretch/>
        </p:blipFill>
        <p:spPr>
          <a:xfrm>
            <a:off x="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719328" y="1601156"/>
            <a:ext cx="6096000" cy="2246769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800" dirty="0"/>
          </a:p>
          <a:p>
            <a:endParaRPr lang="en-US" sz="2800" dirty="0"/>
          </a:p>
          <a:p>
            <a:endParaRPr lang="en-US" sz="2800" dirty="0"/>
          </a:p>
          <a:p>
            <a:endParaRPr lang="en-US" sz="2800" dirty="0"/>
          </a:p>
          <a:p>
            <a:endParaRPr lang="en-US" sz="2800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9E492FC5-DCC4-4751-89B7-2E7186B36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28" y="560062"/>
            <a:ext cx="6521227" cy="4837128"/>
          </a:xfrm>
        </p:spPr>
        <p:txBody>
          <a:bodyPr anchor="t">
            <a:normAutofit/>
          </a:bodyPr>
          <a:lstStyle/>
          <a:p>
            <a:r>
              <a:rPr lang="de-DE" sz="4000" b="1" dirty="0">
                <a:cs typeface="Calibri Light"/>
              </a:rPr>
              <a:t>Q &amp; A</a:t>
            </a:r>
            <a:br>
              <a:rPr lang="de-DE" sz="4000" b="1" dirty="0">
                <a:cs typeface="Calibri Light"/>
              </a:rPr>
            </a:br>
            <a:br>
              <a:rPr lang="de-DE" sz="4000" b="1" dirty="0">
                <a:cs typeface="Calibri Light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User Group Co-Lead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Teams Community Day (DACH)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28.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Januar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2020 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MeetUp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Alternative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12240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5" y="587829"/>
            <a:ext cx="6096000" cy="4154984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000" dirty="0"/>
              <a:t>Microsoft Ignite the Tour</a:t>
            </a:r>
            <a:endParaRPr lang="en-US" sz="2800" dirty="0">
              <a:cs typeface="Calibri"/>
            </a:endParaRPr>
          </a:p>
          <a:p>
            <a:endParaRPr lang="en-US" sz="2800" dirty="0"/>
          </a:p>
          <a:p>
            <a:endParaRPr lang="en-US" sz="2800" dirty="0"/>
          </a:p>
          <a:p>
            <a:r>
              <a:rPr lang="en-US" sz="2800" dirty="0">
                <a:sym typeface="Wingdings" panose="05000000000000000000" pitchFamily="2" charset="2"/>
              </a:rPr>
              <a:t> </a:t>
            </a:r>
            <a:r>
              <a:rPr lang="en-US" sz="2800" dirty="0"/>
              <a:t>29./30. April 2020 Berlin</a:t>
            </a:r>
          </a:p>
          <a:p>
            <a:endParaRPr lang="en-US" sz="2800" dirty="0"/>
          </a:p>
          <a:p>
            <a:r>
              <a:rPr lang="en-US" sz="2800" dirty="0">
                <a:sym typeface="Wingdings" panose="05000000000000000000" pitchFamily="2" charset="2"/>
              </a:rPr>
              <a:t> </a:t>
            </a:r>
            <a:r>
              <a:rPr lang="en-US" sz="2800" dirty="0" err="1">
                <a:sym typeface="Wingdings" panose="05000000000000000000" pitchFamily="2" charset="2"/>
              </a:rPr>
              <a:t>Registrierung</a:t>
            </a:r>
            <a:r>
              <a:rPr lang="en-US" sz="2800" dirty="0">
                <a:sym typeface="Wingdings" panose="05000000000000000000" pitchFamily="2" charset="2"/>
              </a:rPr>
              <a:t> </a:t>
            </a:r>
            <a:br>
              <a:rPr lang="en-US" sz="2800" dirty="0">
                <a:sym typeface="Wingdings" panose="05000000000000000000" pitchFamily="2" charset="2"/>
              </a:rPr>
            </a:br>
            <a:r>
              <a:rPr lang="en-US" sz="2800" dirty="0">
                <a:sym typeface="Wingdings" panose="05000000000000000000" pitchFamily="2" charset="2"/>
              </a:rPr>
              <a:t> </a:t>
            </a:r>
            <a:r>
              <a:rPr lang="en-US" sz="2800" dirty="0">
                <a:hlinkClick r:id="rId4"/>
              </a:rPr>
              <a:t>Microsoft Ignite the Tour Website</a:t>
            </a:r>
            <a:endParaRPr lang="en-US" sz="2800" dirty="0"/>
          </a:p>
          <a:p>
            <a:endParaRPr lang="en-US" sz="2800" dirty="0">
              <a:cs typeface="Calibri"/>
            </a:endParaRP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1103752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EE6D2AF-0E92-4594-A43C-FEFA15CFF9C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8881"/>
          <a:stretch/>
        </p:blipFill>
        <p:spPr>
          <a:xfrm>
            <a:off x="856421" y="2831302"/>
            <a:ext cx="6158697" cy="876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8107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20EB187-900F-4AF5-813B-101456D9F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615182D8-3ED6-49BA-9B20-FB0EA05ECF2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7872E48-A59A-4E07-BC6E-6244BE730E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7349" y="441649"/>
            <a:ext cx="7499850" cy="521619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8000" dirty="0">
                <a:solidFill>
                  <a:srgbClr val="FFFFFF"/>
                </a:solidFill>
              </a:rPr>
              <a:t>Bis </a:t>
            </a:r>
            <a:r>
              <a:rPr lang="en-US" sz="8000" dirty="0" err="1">
                <a:solidFill>
                  <a:srgbClr val="FFFFFF"/>
                </a:solidFill>
              </a:rPr>
              <a:t>zum</a:t>
            </a:r>
            <a:r>
              <a:rPr lang="en-US" sz="8000" dirty="0">
                <a:solidFill>
                  <a:srgbClr val="FFFFFF"/>
                </a:solidFill>
              </a:rPr>
              <a:t> </a:t>
            </a:r>
            <a:r>
              <a:rPr lang="en-US" sz="8000" dirty="0" err="1">
                <a:solidFill>
                  <a:srgbClr val="FFFFFF"/>
                </a:solidFill>
              </a:rPr>
              <a:t>nächsten</a:t>
            </a:r>
            <a:r>
              <a:rPr lang="en-US" sz="8000" dirty="0">
                <a:solidFill>
                  <a:srgbClr val="FFFFFF"/>
                </a:solidFill>
              </a:rPr>
              <a:t> Meetup!</a:t>
            </a:r>
            <a:br>
              <a:rPr lang="en-US" sz="8000" dirty="0">
                <a:solidFill>
                  <a:srgbClr val="FFFFFF"/>
                </a:solidFill>
              </a:rPr>
            </a:br>
            <a:r>
              <a:rPr lang="en-US" dirty="0" err="1">
                <a:solidFill>
                  <a:srgbClr val="FFFFFF"/>
                </a:solidFill>
              </a:rPr>
              <a:t>Planung</a:t>
            </a:r>
            <a:r>
              <a:rPr lang="en-US" dirty="0">
                <a:solidFill>
                  <a:srgbClr val="FFFFFF"/>
                </a:solidFill>
              </a:rPr>
              <a:t>:</a:t>
            </a:r>
            <a:br>
              <a:rPr lang="en-US" sz="8000" dirty="0">
                <a:solidFill>
                  <a:srgbClr val="FFFFFF"/>
                </a:solidFill>
              </a:rPr>
            </a:br>
            <a:endParaRPr lang="en-US" sz="1800" i="1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24D17C8-E9C2-48A4-AA36-D7048A6CCC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286000"/>
            <a:ext cx="0" cy="228600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6444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5" y="587829"/>
            <a:ext cx="6096000" cy="4154984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000" dirty="0"/>
              <a:t>Teams | Adoption</a:t>
            </a:r>
            <a:endParaRPr lang="en-US" sz="2800" dirty="0">
              <a:cs typeface="Calibri"/>
            </a:endParaRPr>
          </a:p>
          <a:p>
            <a:br>
              <a:rPr lang="en-US" sz="2800" dirty="0"/>
            </a:br>
            <a:r>
              <a:rPr lang="en-US" sz="2800" dirty="0" err="1">
                <a:hlinkClick r:id="rId4"/>
              </a:rPr>
              <a:t>Übersicht</a:t>
            </a:r>
            <a:r>
              <a:rPr lang="en-US" sz="2800" dirty="0">
                <a:hlinkClick r:id="rId4"/>
              </a:rPr>
              <a:t> der Adoption </a:t>
            </a:r>
            <a:r>
              <a:rPr lang="en-US" sz="2800" dirty="0" err="1">
                <a:hlinkClick r:id="rId4"/>
              </a:rPr>
              <a:t>Ressourcen</a:t>
            </a:r>
            <a:endParaRPr lang="en-US" sz="2800" dirty="0"/>
          </a:p>
          <a:p>
            <a:r>
              <a:rPr lang="en-US" sz="2800" dirty="0">
                <a:hlinkClick r:id="rId5"/>
              </a:rPr>
              <a:t>Microsoft 365 Adoption Guide</a:t>
            </a:r>
            <a:endParaRPr lang="en-US" sz="2800" dirty="0"/>
          </a:p>
          <a:p>
            <a:r>
              <a:rPr lang="en-US" sz="2800" dirty="0">
                <a:hlinkClick r:id="rId6"/>
              </a:rPr>
              <a:t>Microsoft Teams Adoption Guide</a:t>
            </a:r>
            <a:endParaRPr lang="en-US" sz="2800" dirty="0"/>
          </a:p>
          <a:p>
            <a:r>
              <a:rPr lang="en-US" sz="2800" dirty="0">
                <a:hlinkClick r:id="rId7"/>
              </a:rPr>
              <a:t>Teamwork Governance</a:t>
            </a:r>
            <a:endParaRPr lang="en-US" sz="2800" dirty="0"/>
          </a:p>
          <a:p>
            <a:endParaRPr lang="en-US" sz="2800" dirty="0"/>
          </a:p>
          <a:p>
            <a:endParaRPr lang="en-US" sz="2800" dirty="0">
              <a:cs typeface="Calibri"/>
            </a:endParaRP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083797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E64CEBCE-34C0-449A-9EC1-65A0C3C67B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0" b="12832"/>
          <a:stretch/>
        </p:blipFill>
        <p:spPr>
          <a:xfrm>
            <a:off x="20" y="1"/>
            <a:ext cx="12191980" cy="6857990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B49A0DA-EF78-422B-8F08-4B8AD9CCCF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6733365"/>
              </p:ext>
            </p:extLst>
          </p:nvPr>
        </p:nvGraphicFramePr>
        <p:xfrm>
          <a:off x="421419" y="1423319"/>
          <a:ext cx="11290852" cy="42698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4503684D-677E-43CF-B146-2CCEDED9B4AC}"/>
              </a:ext>
            </a:extLst>
          </p:cNvPr>
          <p:cNvGrpSpPr/>
          <p:nvPr/>
        </p:nvGrpSpPr>
        <p:grpSpPr>
          <a:xfrm>
            <a:off x="421419" y="5189248"/>
            <a:ext cx="2774454" cy="503886"/>
            <a:chOff x="3230" y="362076"/>
            <a:chExt cx="1716172" cy="460800"/>
          </a:xfrm>
          <a:solidFill>
            <a:srgbClr val="F6CCBE"/>
          </a:solidFill>
          <a:effectLst/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C56C09B-9135-4438-AF93-B010D368CB46}"/>
                </a:ext>
              </a:extLst>
            </p:cNvPr>
            <p:cNvSpPr/>
            <p:nvPr/>
          </p:nvSpPr>
          <p:spPr>
            <a:xfrm>
              <a:off x="3230" y="362076"/>
              <a:ext cx="1716172" cy="4608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21712AD-BEEA-4F10-B8CD-7E34CE237D9D}"/>
                </a:ext>
              </a:extLst>
            </p:cNvPr>
            <p:cNvSpPr txBox="1"/>
            <p:nvPr/>
          </p:nvSpPr>
          <p:spPr>
            <a:xfrm>
              <a:off x="3230" y="362076"/>
              <a:ext cx="1716172" cy="4608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ttps://aka.ms/O365Roadmap</a:t>
              </a:r>
            </a:p>
          </p:txBody>
        </p:sp>
      </p:grpSp>
      <p:grpSp>
        <p:nvGrpSpPr>
          <p:cNvPr id="8" name="Group 10">
            <a:extLst>
              <a:ext uri="{FF2B5EF4-FFF2-40B4-BE49-F238E27FC236}">
                <a16:creationId xmlns:a16="http://schemas.microsoft.com/office/drawing/2014/main" id="{FC95F92C-B7C0-49E4-8F29-7C8052F42870}"/>
              </a:ext>
            </a:extLst>
          </p:cNvPr>
          <p:cNvGrpSpPr/>
          <p:nvPr/>
        </p:nvGrpSpPr>
        <p:grpSpPr>
          <a:xfrm>
            <a:off x="3274285" y="5189248"/>
            <a:ext cx="2774454" cy="503886"/>
            <a:chOff x="3230" y="362076"/>
            <a:chExt cx="1716172" cy="460800"/>
          </a:xfrm>
          <a:solidFill>
            <a:srgbClr val="F6CCBE"/>
          </a:solidFill>
        </p:grpSpPr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8DA885D0-5E18-40B4-BCF8-39BCF9C51698}"/>
                </a:ext>
              </a:extLst>
            </p:cNvPr>
            <p:cNvSpPr/>
            <p:nvPr/>
          </p:nvSpPr>
          <p:spPr>
            <a:xfrm>
              <a:off x="3230" y="362076"/>
              <a:ext cx="1716172" cy="4608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</p:sp>
        <p:sp>
          <p:nvSpPr>
            <p:cNvPr id="10" name="TextBox 12">
              <a:extLst>
                <a:ext uri="{FF2B5EF4-FFF2-40B4-BE49-F238E27FC236}">
                  <a16:creationId xmlns:a16="http://schemas.microsoft.com/office/drawing/2014/main" id="{57857A2C-F91A-4D05-8E45-4AEF285287DB}"/>
                </a:ext>
              </a:extLst>
            </p:cNvPr>
            <p:cNvSpPr txBox="1"/>
            <p:nvPr/>
          </p:nvSpPr>
          <p:spPr>
            <a:xfrm>
              <a:off x="3230" y="362076"/>
              <a:ext cx="1716172" cy="4608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ttps://aka.ms/TeamsCommunity</a:t>
              </a:r>
            </a:p>
          </p:txBody>
        </p:sp>
      </p:grpSp>
      <p:grpSp>
        <p:nvGrpSpPr>
          <p:cNvPr id="11" name="Group 13">
            <a:extLst>
              <a:ext uri="{FF2B5EF4-FFF2-40B4-BE49-F238E27FC236}">
                <a16:creationId xmlns:a16="http://schemas.microsoft.com/office/drawing/2014/main" id="{E6AA59B8-69AE-456F-BBE4-EFA177B4E442}"/>
              </a:ext>
            </a:extLst>
          </p:cNvPr>
          <p:cNvGrpSpPr/>
          <p:nvPr/>
        </p:nvGrpSpPr>
        <p:grpSpPr>
          <a:xfrm>
            <a:off x="6118098" y="5191791"/>
            <a:ext cx="2774454" cy="503886"/>
            <a:chOff x="3230" y="362076"/>
            <a:chExt cx="1716172" cy="460800"/>
          </a:xfrm>
          <a:solidFill>
            <a:srgbClr val="F6CCBE"/>
          </a:solidFill>
        </p:grpSpPr>
        <p:sp>
          <p:nvSpPr>
            <p:cNvPr id="12" name="Rectangle 14">
              <a:extLst>
                <a:ext uri="{FF2B5EF4-FFF2-40B4-BE49-F238E27FC236}">
                  <a16:creationId xmlns:a16="http://schemas.microsoft.com/office/drawing/2014/main" id="{E62EA97F-6E9E-4385-9DB3-57BF1EEA6E6B}"/>
                </a:ext>
              </a:extLst>
            </p:cNvPr>
            <p:cNvSpPr/>
            <p:nvPr/>
          </p:nvSpPr>
          <p:spPr>
            <a:xfrm>
              <a:off x="3230" y="362076"/>
              <a:ext cx="1716172" cy="4608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</p:sp>
        <p:sp>
          <p:nvSpPr>
            <p:cNvPr id="13" name="TextBox 15">
              <a:extLst>
                <a:ext uri="{FF2B5EF4-FFF2-40B4-BE49-F238E27FC236}">
                  <a16:creationId xmlns:a16="http://schemas.microsoft.com/office/drawing/2014/main" id="{ABDF8D4C-E61B-40F6-9B3E-04C11FD5EA24}"/>
                </a:ext>
              </a:extLst>
            </p:cNvPr>
            <p:cNvSpPr txBox="1"/>
            <p:nvPr/>
          </p:nvSpPr>
          <p:spPr>
            <a:xfrm>
              <a:off x="3230" y="362076"/>
              <a:ext cx="1716172" cy="4608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ttps://aka.ms/SuccessWithTeams</a:t>
              </a:r>
            </a:p>
          </p:txBody>
        </p:sp>
      </p:grpSp>
      <p:grpSp>
        <p:nvGrpSpPr>
          <p:cNvPr id="14" name="Group 16">
            <a:extLst>
              <a:ext uri="{FF2B5EF4-FFF2-40B4-BE49-F238E27FC236}">
                <a16:creationId xmlns:a16="http://schemas.microsoft.com/office/drawing/2014/main" id="{9D0EC2FE-271A-4F9D-B2A4-599DB33D332B}"/>
              </a:ext>
            </a:extLst>
          </p:cNvPr>
          <p:cNvGrpSpPr/>
          <p:nvPr/>
        </p:nvGrpSpPr>
        <p:grpSpPr>
          <a:xfrm>
            <a:off x="8960449" y="5189248"/>
            <a:ext cx="2774454" cy="503886"/>
            <a:chOff x="3230" y="362076"/>
            <a:chExt cx="1716172" cy="460800"/>
          </a:xfrm>
          <a:solidFill>
            <a:srgbClr val="F6CCBE"/>
          </a:solidFill>
        </p:grpSpPr>
        <p:sp>
          <p:nvSpPr>
            <p:cNvPr id="15" name="Rectangle 17">
              <a:extLst>
                <a:ext uri="{FF2B5EF4-FFF2-40B4-BE49-F238E27FC236}">
                  <a16:creationId xmlns:a16="http://schemas.microsoft.com/office/drawing/2014/main" id="{CD49705C-66BF-47E4-BEE4-00D507F904C1}"/>
                </a:ext>
              </a:extLst>
            </p:cNvPr>
            <p:cNvSpPr/>
            <p:nvPr/>
          </p:nvSpPr>
          <p:spPr>
            <a:xfrm>
              <a:off x="3230" y="362076"/>
              <a:ext cx="1716172" cy="4608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</p:sp>
        <p:sp>
          <p:nvSpPr>
            <p:cNvPr id="16" name="TextBox 18">
              <a:extLst>
                <a:ext uri="{FF2B5EF4-FFF2-40B4-BE49-F238E27FC236}">
                  <a16:creationId xmlns:a16="http://schemas.microsoft.com/office/drawing/2014/main" id="{9A2AD5DF-0FE0-4854-BCC1-93794903D72F}"/>
                </a:ext>
              </a:extLst>
            </p:cNvPr>
            <p:cNvSpPr txBox="1"/>
            <p:nvPr/>
          </p:nvSpPr>
          <p:spPr>
            <a:xfrm>
              <a:off x="3230" y="362076"/>
              <a:ext cx="1716172" cy="4608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ttps://aka.ms/CoffeeintheClou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61402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E64CEBCE-34C0-449A-9EC1-65A0C3C67B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0" b="12832"/>
          <a:stretch/>
        </p:blipFill>
        <p:spPr>
          <a:xfrm>
            <a:off x="20" y="1"/>
            <a:ext cx="12191980" cy="6857990"/>
          </a:xfrm>
          <a:prstGeom prst="rect">
            <a:avLst/>
          </a:prstGeom>
        </p:spPr>
      </p:pic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652BEC63-DB14-44B5-8375-798620095A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1297477"/>
              </p:ext>
            </p:extLst>
          </p:nvPr>
        </p:nvGraphicFramePr>
        <p:xfrm>
          <a:off x="174170" y="267469"/>
          <a:ext cx="11775232" cy="62988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2176">
                  <a:extLst>
                    <a:ext uri="{9D8B030D-6E8A-4147-A177-3AD203B41FA5}">
                      <a16:colId xmlns:a16="http://schemas.microsoft.com/office/drawing/2014/main" val="3069055814"/>
                    </a:ext>
                  </a:extLst>
                </a:gridCol>
                <a:gridCol w="1682176">
                  <a:extLst>
                    <a:ext uri="{9D8B030D-6E8A-4147-A177-3AD203B41FA5}">
                      <a16:colId xmlns:a16="http://schemas.microsoft.com/office/drawing/2014/main" val="3702861096"/>
                    </a:ext>
                  </a:extLst>
                </a:gridCol>
                <a:gridCol w="1682176">
                  <a:extLst>
                    <a:ext uri="{9D8B030D-6E8A-4147-A177-3AD203B41FA5}">
                      <a16:colId xmlns:a16="http://schemas.microsoft.com/office/drawing/2014/main" val="2858734072"/>
                    </a:ext>
                  </a:extLst>
                </a:gridCol>
                <a:gridCol w="1682176">
                  <a:extLst>
                    <a:ext uri="{9D8B030D-6E8A-4147-A177-3AD203B41FA5}">
                      <a16:colId xmlns:a16="http://schemas.microsoft.com/office/drawing/2014/main" val="3552154896"/>
                    </a:ext>
                  </a:extLst>
                </a:gridCol>
                <a:gridCol w="1682176">
                  <a:extLst>
                    <a:ext uri="{9D8B030D-6E8A-4147-A177-3AD203B41FA5}">
                      <a16:colId xmlns:a16="http://schemas.microsoft.com/office/drawing/2014/main" val="2177932297"/>
                    </a:ext>
                  </a:extLst>
                </a:gridCol>
                <a:gridCol w="1682176">
                  <a:extLst>
                    <a:ext uri="{9D8B030D-6E8A-4147-A177-3AD203B41FA5}">
                      <a16:colId xmlns:a16="http://schemas.microsoft.com/office/drawing/2014/main" val="416236562"/>
                    </a:ext>
                  </a:extLst>
                </a:gridCol>
                <a:gridCol w="1682176">
                  <a:extLst>
                    <a:ext uri="{9D8B030D-6E8A-4147-A177-3AD203B41FA5}">
                      <a16:colId xmlns:a16="http://schemas.microsoft.com/office/drawing/2014/main" val="3559891335"/>
                    </a:ext>
                  </a:extLst>
                </a:gridCol>
              </a:tblGrid>
              <a:tr h="640702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Korrespondenz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Zielgrup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 Sprachst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Informations- </a:t>
                      </a:r>
                      <a:r>
                        <a:rPr lang="de-DE" dirty="0" err="1"/>
                        <a:t>teilung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Know-how Transf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Vertraulichkei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39389476"/>
                  </a:ext>
                </a:extLst>
              </a:tr>
              <a:tr h="1943242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SCHNELL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Geeignet für Kommunikation in Echt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KLEIN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Geeignet für kleinere, stark verbundene Tea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INFORMELL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Umgangston geeignet für Teammitglieder, die sich gut ken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SEHR EINFACH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Verschiedenste Formate können geteilt werden (Bibliotheken, Notizbücher, Chats, App-Integr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EINFACH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Teamveränderungen haben keinen Einfluss auf Verfügbarkeit von Inhalten; neue Mitglieder haben Zugriff auf die gesamte Histor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EINIGERMASSEN GERING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Sofern die Einstellungen nicht korrekt gepflegt sind,  können Infos an Unbefugte geh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564726"/>
                  </a:ext>
                </a:extLst>
              </a:tr>
              <a:tr h="1943242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VARIIERT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Nutzbar für jegliche Art der Kommunik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GROSS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Geeignet für unternehmensweite Kommunikation bzw. Zusammenarbeit verschiedener Abteilun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ETWAS FORMELLER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Umgangston oder auch für geschäftliche Kommunik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EINFACH</a:t>
                      </a:r>
                      <a:br>
                        <a:rPr lang="de-DE" sz="1400" dirty="0"/>
                      </a:br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Bedarf lediglich einem Upload; Nachteil: leichter Verlust der Übersichtlichkeit, durch viele Feeds und Grup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SEHR EINFACH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Konsistentes Themen-Tagging und Gruppenpflege sind Voraussetzung; neue Anwender haben Zugriff auf die gesamte Histor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GERING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Unternehmensweite Sichtbarkeit; ungeeignet für vertrauliche oder private Informatio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6215689"/>
                  </a:ext>
                </a:extLst>
              </a:tr>
              <a:tr h="1771636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LANGSAM</a:t>
                      </a:r>
                      <a:br>
                        <a:rPr lang="de-DE" sz="1400" dirty="0"/>
                      </a:br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Keine Information, ob die eigene E-Mail gelesen wurde und wann mit einer Antwort zu rechnen i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VARIIERT</a:t>
                      </a:r>
                    </a:p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Geeignet für Zielgruppen jeglicher Größ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FORMELL</a:t>
                      </a:r>
                      <a:br>
                        <a:rPr lang="de-DE" sz="1400" dirty="0"/>
                      </a:br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Geschäftliche Kommunikation, z.B. für Korrespondenz mit Kund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NICHT EINFACH</a:t>
                      </a:r>
                      <a:br>
                        <a:rPr lang="de-DE" sz="1400" dirty="0"/>
                      </a:br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In Form von Anhängen ist die Nachverfolgbarkeit kompliziert; einfacher ist eine Teilung per OneDrive </a:t>
                      </a:r>
                      <a:r>
                        <a:rPr lang="de-DE" sz="1300" dirty="0" err="1"/>
                        <a:t>for</a:t>
                      </a:r>
                      <a:r>
                        <a:rPr lang="de-DE" sz="1300" dirty="0"/>
                        <a:t> Busi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NICHT EINFACH</a:t>
                      </a:r>
                      <a:br>
                        <a:rPr lang="de-DE" sz="1400" dirty="0"/>
                      </a:br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Know-how ist personenspezifisch isoliert und verloren, sobald die Person das Unternehmen verläs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MITTELMÄSSIG</a:t>
                      </a:r>
                      <a:br>
                        <a:rPr lang="de-DE" sz="1400" dirty="0"/>
                      </a:br>
                      <a:endParaRPr lang="de-DE" sz="1400" dirty="0"/>
                    </a:p>
                    <a:p>
                      <a:pPr algn="ctr"/>
                      <a:r>
                        <a:rPr lang="de-DE" sz="1300" dirty="0"/>
                        <a:t>Sender und Empfänger haben Sichtbark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4560546"/>
                  </a:ext>
                </a:extLst>
              </a:tr>
            </a:tbl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05F958C1-7BF3-4964-9C1A-8E2FC33A8E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653" y="1504267"/>
            <a:ext cx="723905" cy="71438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02175EDB-60BB-49D1-9E03-7CFCC34A38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9415" y="5353733"/>
            <a:ext cx="714380" cy="71438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3A6F5D7-1080-4A69-86F2-9289654691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194" y="3485466"/>
            <a:ext cx="714380" cy="714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0491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7C443BE-398D-4554-915A-66108D6832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980" y="449657"/>
            <a:ext cx="6869579" cy="5315918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A760DAD-1338-408F-8499-E0FD4296B37D}"/>
              </a:ext>
            </a:extLst>
          </p:cNvPr>
          <p:cNvSpPr txBox="1"/>
          <p:nvPr/>
        </p:nvSpPr>
        <p:spPr>
          <a:xfrm>
            <a:off x="404327" y="5807081"/>
            <a:ext cx="5617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>
                <a:solidFill>
                  <a:schemeClr val="tx2"/>
                </a:solidFill>
              </a:rPr>
              <a:t>https://aka.ms/TeamsAdoption</a:t>
            </a:r>
          </a:p>
        </p:txBody>
      </p:sp>
    </p:spTree>
    <p:extLst>
      <p:ext uri="{BB962C8B-B14F-4D97-AF65-F5344CB8AC3E}">
        <p14:creationId xmlns:p14="http://schemas.microsoft.com/office/powerpoint/2010/main" val="17602816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6719C9E2-2CF2-44DE-9BB9-39339E0CAE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4109" y="640081"/>
            <a:ext cx="6620505" cy="472303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000" b="1" dirty="0"/>
              <a:t>Thomas </a:t>
            </a:r>
            <a:r>
              <a:rPr lang="en-US" sz="2000" b="1" dirty="0" err="1"/>
              <a:t>Stensitzki</a:t>
            </a:r>
            <a:endParaRPr lang="de-DE" b="1" dirty="0" err="1"/>
          </a:p>
          <a:p>
            <a:pPr marL="0" indent="0">
              <a:buNone/>
            </a:pPr>
            <a:r>
              <a:rPr lang="en-US" sz="2000" dirty="0"/>
              <a:t>Enterprise Consultant | </a:t>
            </a:r>
            <a:r>
              <a:rPr lang="en-US" sz="2000" dirty="0" err="1"/>
              <a:t>Geschäftsführer</a:t>
            </a:r>
            <a:br>
              <a:rPr lang="en-US" sz="2000" dirty="0">
                <a:cs typeface="Calibri"/>
              </a:rPr>
            </a:br>
            <a:r>
              <a:rPr lang="en-US" sz="2000" dirty="0"/>
              <a:t>Granikos GmbH &amp; Co. KG</a:t>
            </a:r>
            <a:endParaRPr lang="en-US" sz="2000" dirty="0">
              <a:cs typeface="Calibri"/>
            </a:endParaRPr>
          </a:p>
          <a:p>
            <a:pPr marL="0" indent="0">
              <a:buNone/>
            </a:pPr>
            <a:r>
              <a:rPr lang="en-US" sz="2000" dirty="0"/>
              <a:t>MVP | Office Apps &amp; Services</a:t>
            </a:r>
            <a:br>
              <a:rPr lang="en-US" sz="2000" dirty="0"/>
            </a:br>
            <a:r>
              <a:rPr lang="en-US" sz="2000" dirty="0"/>
              <a:t>MCT Regional Lead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>
                <a:hlinkClick r:id="rId3" invalidUrl="http://"/>
              </a:rPr>
              <a:t>Thomas.Stensitzki@Granikos.eu</a:t>
            </a:r>
            <a:br>
              <a:rPr lang="en-US" sz="2000" dirty="0">
                <a:cs typeface="Calibri"/>
                <a:hlinkClick r:id="rId4" invalidUrl="http://"/>
              </a:rPr>
            </a:br>
            <a:r>
              <a:rPr lang="en-US" sz="2000" dirty="0"/>
              <a:t>Twitter: @</a:t>
            </a:r>
            <a:r>
              <a:rPr lang="en-US" sz="2000" dirty="0" err="1"/>
              <a:t>Stensitzki</a:t>
            </a:r>
            <a:r>
              <a:rPr lang="en-US" sz="2000" dirty="0"/>
              <a:t> </a:t>
            </a:r>
            <a:endParaRPr lang="en-US" sz="2000" dirty="0">
              <a:cs typeface="Calibri"/>
            </a:endParaRPr>
          </a:p>
          <a:p>
            <a:pPr marL="0"/>
            <a:endParaRPr lang="en-US" sz="2000" dirty="0"/>
          </a:p>
          <a:p>
            <a:pPr marL="0" indent="0">
              <a:buNone/>
            </a:pPr>
            <a:r>
              <a:rPr lang="en-US" sz="2000" dirty="0"/>
              <a:t>Blog DE: </a:t>
            </a:r>
            <a:r>
              <a:rPr lang="en-US" sz="2000" dirty="0">
                <a:hlinkClick r:id="rId5"/>
              </a:rPr>
              <a:t>http://Blog.Granikos.eu</a:t>
            </a:r>
            <a:r>
              <a:rPr lang="en-US" sz="2000" dirty="0"/>
              <a:t>  </a:t>
            </a:r>
            <a:endParaRPr lang="en-US" sz="2000" dirty="0">
              <a:cs typeface="Calibri"/>
            </a:endParaRPr>
          </a:p>
          <a:p>
            <a:pPr marL="0" indent="0">
              <a:buNone/>
            </a:pPr>
            <a:r>
              <a:rPr lang="en-US" sz="2000" dirty="0"/>
              <a:t>Blog EN: </a:t>
            </a:r>
            <a:r>
              <a:rPr lang="en-US" sz="2000" dirty="0">
                <a:hlinkClick r:id="rId6"/>
              </a:rPr>
              <a:t>http://JustCantGetEnough.Granikos.eu</a:t>
            </a:r>
            <a:r>
              <a:rPr lang="en-US" sz="2000" dirty="0"/>
              <a:t> </a:t>
            </a:r>
            <a:endParaRPr lang="en-US" sz="2000" dirty="0">
              <a:cs typeface="Calibri"/>
            </a:endParaRPr>
          </a:p>
          <a:p>
            <a:endParaRPr lang="en-US" sz="2000" dirty="0"/>
          </a:p>
        </p:txBody>
      </p:sp>
      <p:pic>
        <p:nvPicPr>
          <p:cNvPr id="3" name="Grafik 2" descr="Ein Bild, das Himmel enthält.&#10;&#10;Automatisch generierte Beschreibung">
            <a:extLst>
              <a:ext uri="{FF2B5EF4-FFF2-40B4-BE49-F238E27FC236}">
                <a16:creationId xmlns:a16="http://schemas.microsoft.com/office/drawing/2014/main" id="{CF3E71D8-7563-401F-BAD5-7C3FA8BF6AE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09" y="5152641"/>
            <a:ext cx="2289053" cy="923546"/>
          </a:xfrm>
          <a:prstGeom prst="rect">
            <a:avLst/>
          </a:prstGeom>
        </p:spPr>
      </p:pic>
      <p:pic>
        <p:nvPicPr>
          <p:cNvPr id="4" name="Grafik 3" descr="Ein Bild, das Screenshot, Text enthält.&#10;&#10;Automatisch generierte Beschreibung">
            <a:extLst>
              <a:ext uri="{FF2B5EF4-FFF2-40B4-BE49-F238E27FC236}">
                <a16:creationId xmlns:a16="http://schemas.microsoft.com/office/drawing/2014/main" id="{36F6B164-2F6D-4326-AF9B-DBCE9FF7E5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8624" y="1533196"/>
            <a:ext cx="3299267" cy="46847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001942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4" y="587829"/>
            <a:ext cx="6555179" cy="5447645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000" dirty="0"/>
              <a:t>Agenda​</a:t>
            </a:r>
          </a:p>
          <a:p>
            <a:br>
              <a:rPr lang="en-US" sz="2800" dirty="0">
                <a:cs typeface="Calibri"/>
              </a:rPr>
            </a:br>
            <a:r>
              <a:rPr lang="de-DE" sz="2800" dirty="0">
                <a:cs typeface="Calibri"/>
              </a:rPr>
              <a:t>Teams Adoption am Beispiel der Fichtner Gruppe - Erik Vetters</a:t>
            </a:r>
            <a:r>
              <a:rPr lang="en-US" sz="2800" dirty="0">
                <a:cs typeface="Calibri"/>
              </a:rPr>
              <a:t> </a:t>
            </a:r>
          </a:p>
          <a:p>
            <a:endParaRPr lang="en-US" sz="2800" dirty="0">
              <a:cs typeface="Calibri"/>
            </a:endParaRPr>
          </a:p>
          <a:p>
            <a:r>
              <a:rPr lang="de-DE" sz="2800" dirty="0">
                <a:cs typeface="Calibri"/>
              </a:rPr>
              <a:t>Neuigkeiten rund um Microsoft Teams von der Ignite 2019</a:t>
            </a:r>
            <a:endParaRPr lang="en-US" sz="2800" dirty="0">
              <a:cs typeface="Calibri"/>
            </a:endParaRPr>
          </a:p>
          <a:p>
            <a:endParaRPr lang="en-US" sz="2800" dirty="0">
              <a:cs typeface="Calibri"/>
            </a:endParaRPr>
          </a:p>
          <a:p>
            <a:r>
              <a:rPr lang="en-US" sz="2800" dirty="0">
                <a:cs typeface="Calibri"/>
              </a:rPr>
              <a:t>Q &amp; A</a:t>
            </a:r>
          </a:p>
          <a:p>
            <a:endParaRPr lang="en-US" sz="2800" dirty="0">
              <a:cs typeface="Calibri"/>
            </a:endParaRPr>
          </a:p>
          <a:p>
            <a:r>
              <a:rPr lang="en-US" sz="2800" dirty="0" err="1">
                <a:cs typeface="Calibri"/>
              </a:rPr>
              <a:t>Termine</a:t>
            </a:r>
            <a:endParaRPr lang="en-US" sz="2800" dirty="0">
              <a:cs typeface="Calibri"/>
            </a:endParaRP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652044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5" y="587829"/>
            <a:ext cx="5906285" cy="3847207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4000" dirty="0"/>
              <a:t>Teams Adoption</a:t>
            </a:r>
            <a:br>
              <a:rPr lang="de-DE" sz="4000" dirty="0"/>
            </a:br>
            <a:r>
              <a:rPr lang="de-DE" sz="4000" dirty="0"/>
              <a:t>Fichtner Gruppe</a:t>
            </a:r>
          </a:p>
          <a:p>
            <a:endParaRPr lang="de-DE" sz="4000" dirty="0"/>
          </a:p>
          <a:p>
            <a:r>
              <a:rPr lang="de-DE" sz="4000" dirty="0"/>
              <a:t>Erik Vetters </a:t>
            </a:r>
            <a:endParaRPr lang="en-US" sz="2800" dirty="0">
              <a:cs typeface="Calibri"/>
            </a:endParaRPr>
          </a:p>
          <a:p>
            <a:endParaRPr lang="en-US" sz="2800" dirty="0"/>
          </a:p>
          <a:p>
            <a:endParaRPr lang="en-US" sz="2800" dirty="0">
              <a:cs typeface="Calibri"/>
            </a:endParaRP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525503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10" descr="Ein Bild, das Person, Tisch, Laptop, drinnen enthält.&#10;&#10;Mit sehr hoher Zuverlässigkeit generierte Beschreibung">
            <a:extLst>
              <a:ext uri="{FF2B5EF4-FFF2-40B4-BE49-F238E27FC236}">
                <a16:creationId xmlns:a16="http://schemas.microsoft.com/office/drawing/2014/main" id="{489273A7-06E4-4676-99C1-D455725C97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0" b="1283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8008D52-F382-4F98-896B-9B9599258C92}"/>
              </a:ext>
            </a:extLst>
          </p:cNvPr>
          <p:cNvSpPr txBox="1"/>
          <p:nvPr/>
        </p:nvSpPr>
        <p:spPr>
          <a:xfrm>
            <a:off x="672934" y="587829"/>
            <a:ext cx="6861721" cy="4154984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4000" dirty="0"/>
              <a:t>Teams | Neuigkeiten Ignite 2019</a:t>
            </a:r>
            <a:endParaRPr lang="de-DE" sz="2800" dirty="0">
              <a:cs typeface="Calibri"/>
            </a:endParaRPr>
          </a:p>
          <a:p>
            <a:endParaRPr lang="de-DE" sz="2800" dirty="0"/>
          </a:p>
          <a:p>
            <a:r>
              <a:rPr lang="de-DE" sz="2800" dirty="0">
                <a:cs typeface="Calibri"/>
              </a:rPr>
              <a:t>Ankündigungen</a:t>
            </a:r>
          </a:p>
          <a:p>
            <a:r>
              <a:rPr lang="de-DE" sz="2800" dirty="0">
                <a:cs typeface="Calibri"/>
              </a:rPr>
              <a:t>Microsoft </a:t>
            </a:r>
            <a:r>
              <a:rPr lang="de-DE" sz="2800" dirty="0" err="1">
                <a:cs typeface="Calibri"/>
              </a:rPr>
              <a:t>Learn</a:t>
            </a:r>
            <a:endParaRPr lang="de-DE" sz="2800" dirty="0">
              <a:cs typeface="Calibri"/>
            </a:endParaRPr>
          </a:p>
          <a:p>
            <a:endParaRPr lang="de-DE" sz="2800" dirty="0">
              <a:cs typeface="Calibri"/>
            </a:endParaRPr>
          </a:p>
          <a:p>
            <a:endParaRPr lang="de-DE" sz="2800" dirty="0">
              <a:cs typeface="Calibri"/>
            </a:endParaRPr>
          </a:p>
          <a:p>
            <a:endParaRPr lang="de-DE" sz="2800" dirty="0">
              <a:cs typeface="Calibri"/>
            </a:endParaRPr>
          </a:p>
          <a:p>
            <a:endParaRPr lang="de-DE" sz="2800" dirty="0">
              <a:cs typeface="Calibri"/>
            </a:endParaRP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9589234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9">
            <a:extLst>
              <a:ext uri="{FF2B5EF4-FFF2-40B4-BE49-F238E27FC236}">
                <a16:creationId xmlns:a16="http://schemas.microsoft.com/office/drawing/2014/main" id="{C8417673-F529-49EC-8402-EC8515FAD3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0"/>
            <a:ext cx="12192000" cy="6256332"/>
          </a:xfrm>
          <a:custGeom>
            <a:avLst/>
            <a:gdLst>
              <a:gd name="connsiteX0" fmla="*/ 0 w 12192000"/>
              <a:gd name="connsiteY0" fmla="*/ 6256332 h 6256332"/>
              <a:gd name="connsiteX1" fmla="*/ 12192000 w 12192000"/>
              <a:gd name="connsiteY1" fmla="*/ 6256332 h 6256332"/>
              <a:gd name="connsiteX2" fmla="*/ 12192000 w 12192000"/>
              <a:gd name="connsiteY2" fmla="*/ 1476999 h 6256332"/>
              <a:gd name="connsiteX3" fmla="*/ 11641106 w 12192000"/>
              <a:gd name="connsiteY3" fmla="*/ 293499 h 6256332"/>
              <a:gd name="connsiteX4" fmla="*/ 11503315 w 12192000"/>
              <a:gd name="connsiteY4" fmla="*/ 234 h 6256332"/>
              <a:gd name="connsiteX5" fmla="*/ 11009115 w 12192000"/>
              <a:gd name="connsiteY5" fmla="*/ 234 h 6256332"/>
              <a:gd name="connsiteX6" fmla="*/ 9923087 w 12192000"/>
              <a:gd name="connsiteY6" fmla="*/ 234 h 6256332"/>
              <a:gd name="connsiteX7" fmla="*/ 9715554 w 12192000"/>
              <a:gd name="connsiteY7" fmla="*/ 234 h 6256332"/>
              <a:gd name="connsiteX8" fmla="*/ 9220071 w 12192000"/>
              <a:gd name="connsiteY8" fmla="*/ 234 h 6256332"/>
              <a:gd name="connsiteX9" fmla="*/ 8134043 w 12192000"/>
              <a:gd name="connsiteY9" fmla="*/ 234 h 6256332"/>
              <a:gd name="connsiteX10" fmla="*/ 7913368 w 12192000"/>
              <a:gd name="connsiteY10" fmla="*/ 234 h 6256332"/>
              <a:gd name="connsiteX11" fmla="*/ 7913260 w 12192000"/>
              <a:gd name="connsiteY11" fmla="*/ 0 h 6256332"/>
              <a:gd name="connsiteX12" fmla="*/ 7417776 w 12192000"/>
              <a:gd name="connsiteY12" fmla="*/ 0 h 6256332"/>
              <a:gd name="connsiteX13" fmla="*/ 6331751 w 12192000"/>
              <a:gd name="connsiteY13" fmla="*/ 0 h 6256332"/>
              <a:gd name="connsiteX14" fmla="*/ 6124217 w 12192000"/>
              <a:gd name="connsiteY14" fmla="*/ 0 h 6256332"/>
              <a:gd name="connsiteX15" fmla="*/ 5628734 w 12192000"/>
              <a:gd name="connsiteY15" fmla="*/ 0 h 6256332"/>
              <a:gd name="connsiteX16" fmla="*/ 4542707 w 12192000"/>
              <a:gd name="connsiteY16" fmla="*/ 0 h 6256332"/>
              <a:gd name="connsiteX17" fmla="*/ 1504199 w 12192000"/>
              <a:gd name="connsiteY17" fmla="*/ 0 h 6256332"/>
              <a:gd name="connsiteX18" fmla="*/ 0 w 12192000"/>
              <a:gd name="connsiteY18" fmla="*/ 0 h 625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256332">
                <a:moveTo>
                  <a:pt x="0" y="6256332"/>
                </a:moveTo>
                <a:lnTo>
                  <a:pt x="12192000" y="6256332"/>
                </a:lnTo>
                <a:lnTo>
                  <a:pt x="12192000" y="1476999"/>
                </a:lnTo>
                <a:lnTo>
                  <a:pt x="11641106" y="293499"/>
                </a:lnTo>
                <a:lnTo>
                  <a:pt x="11503315" y="234"/>
                </a:lnTo>
                <a:lnTo>
                  <a:pt x="11009115" y="234"/>
                </a:lnTo>
                <a:lnTo>
                  <a:pt x="9923087" y="234"/>
                </a:lnTo>
                <a:lnTo>
                  <a:pt x="9715554" y="234"/>
                </a:lnTo>
                <a:lnTo>
                  <a:pt x="9220071" y="234"/>
                </a:lnTo>
                <a:lnTo>
                  <a:pt x="8134043" y="234"/>
                </a:lnTo>
                <a:lnTo>
                  <a:pt x="7913368" y="234"/>
                </a:lnTo>
                <a:lnTo>
                  <a:pt x="7913260" y="0"/>
                </a:lnTo>
                <a:lnTo>
                  <a:pt x="7417776" y="0"/>
                </a:lnTo>
                <a:lnTo>
                  <a:pt x="6331751" y="0"/>
                </a:lnTo>
                <a:lnTo>
                  <a:pt x="6124217" y="0"/>
                </a:lnTo>
                <a:lnTo>
                  <a:pt x="5628734" y="0"/>
                </a:lnTo>
                <a:lnTo>
                  <a:pt x="4542707" y="0"/>
                </a:lnTo>
                <a:lnTo>
                  <a:pt x="1504199" y="0"/>
                </a:lnTo>
                <a:lnTo>
                  <a:pt x="0" y="0"/>
                </a:lnTo>
                <a:close/>
              </a:path>
            </a:pathLst>
          </a:custGeom>
          <a:solidFill>
            <a:srgbClr val="633B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Grafik 4" descr="Ein Bild, das Gebäude enthält.&#10;&#10;Automatisch generierte Beschreibung">
            <a:extLst>
              <a:ext uri="{FF2B5EF4-FFF2-40B4-BE49-F238E27FC236}">
                <a16:creationId xmlns:a16="http://schemas.microsoft.com/office/drawing/2014/main" id="{9FB0387A-D59B-4DA5-9E22-3B98BC2F8A7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89" b="1753"/>
          <a:stretch/>
        </p:blipFill>
        <p:spPr>
          <a:xfrm>
            <a:off x="20" y="10"/>
            <a:ext cx="12191980" cy="6040296"/>
          </a:xfrm>
          <a:custGeom>
            <a:avLst/>
            <a:gdLst>
              <a:gd name="connsiteX0" fmla="*/ 0 w 12192000"/>
              <a:gd name="connsiteY0" fmla="*/ 0 h 6040306"/>
              <a:gd name="connsiteX1" fmla="*/ 12192000 w 12192000"/>
              <a:gd name="connsiteY1" fmla="*/ 0 h 6040306"/>
              <a:gd name="connsiteX2" fmla="*/ 12192000 w 12192000"/>
              <a:gd name="connsiteY2" fmla="*/ 4211076 h 6040306"/>
              <a:gd name="connsiteX3" fmla="*/ 11340591 w 12192000"/>
              <a:gd name="connsiteY3" fmla="*/ 6040306 h 6040306"/>
              <a:gd name="connsiteX4" fmla="*/ 10860731 w 12192000"/>
              <a:gd name="connsiteY4" fmla="*/ 6040306 h 6040306"/>
              <a:gd name="connsiteX5" fmla="*/ 9808950 w 12192000"/>
              <a:gd name="connsiteY5" fmla="*/ 6040306 h 6040306"/>
              <a:gd name="connsiteX6" fmla="*/ 5960209 w 12192000"/>
              <a:gd name="connsiteY6" fmla="*/ 6040306 h 6040306"/>
              <a:gd name="connsiteX7" fmla="*/ 5480349 w 12192000"/>
              <a:gd name="connsiteY7" fmla="*/ 6040306 h 6040306"/>
              <a:gd name="connsiteX8" fmla="*/ 5096434 w 12192000"/>
              <a:gd name="connsiteY8" fmla="*/ 6040306 h 6040306"/>
              <a:gd name="connsiteX9" fmla="*/ 4428567 w 12192000"/>
              <a:gd name="connsiteY9" fmla="*/ 6040306 h 6040306"/>
              <a:gd name="connsiteX10" fmla="*/ 0 w 12192000"/>
              <a:gd name="connsiteY10" fmla="*/ 6040306 h 6040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040306">
                <a:moveTo>
                  <a:pt x="0" y="0"/>
                </a:moveTo>
                <a:lnTo>
                  <a:pt x="12192000" y="0"/>
                </a:lnTo>
                <a:lnTo>
                  <a:pt x="12192000" y="4211076"/>
                </a:lnTo>
                <a:lnTo>
                  <a:pt x="11340591" y="6040306"/>
                </a:lnTo>
                <a:lnTo>
                  <a:pt x="10860731" y="6040306"/>
                </a:lnTo>
                <a:lnTo>
                  <a:pt x="9808950" y="6040306"/>
                </a:lnTo>
                <a:lnTo>
                  <a:pt x="5960209" y="6040306"/>
                </a:lnTo>
                <a:lnTo>
                  <a:pt x="5480349" y="6040306"/>
                </a:lnTo>
                <a:lnTo>
                  <a:pt x="5096434" y="6040306"/>
                </a:lnTo>
                <a:lnTo>
                  <a:pt x="4428567" y="6040306"/>
                </a:lnTo>
                <a:lnTo>
                  <a:pt x="0" y="604030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027757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 enthält.&#10;&#10;Automatisch generierte Beschreibung">
            <a:extLst>
              <a:ext uri="{FF2B5EF4-FFF2-40B4-BE49-F238E27FC236}">
                <a16:creationId xmlns:a16="http://schemas.microsoft.com/office/drawing/2014/main" id="{381EB5F3-A439-447E-9864-F877E161D2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" b="-1"/>
          <a:stretch/>
        </p:blipFill>
        <p:spPr>
          <a:xfrm>
            <a:off x="20" y="10"/>
            <a:ext cx="9141724" cy="6863475"/>
          </a:xfrm>
          <a:custGeom>
            <a:avLst/>
            <a:gdLst>
              <a:gd name="connsiteX0" fmla="*/ 0 w 9141744"/>
              <a:gd name="connsiteY0" fmla="*/ 0 h 6863485"/>
              <a:gd name="connsiteX1" fmla="*/ 5963051 w 9141744"/>
              <a:gd name="connsiteY1" fmla="*/ 0 h 6863485"/>
              <a:gd name="connsiteX2" fmla="*/ 9141744 w 9141744"/>
              <a:gd name="connsiteY2" fmla="*/ 6863485 h 6863485"/>
              <a:gd name="connsiteX3" fmla="*/ 0 w 9141744"/>
              <a:gd name="connsiteY3" fmla="*/ 6863485 h 6863485"/>
              <a:gd name="connsiteX4" fmla="*/ 0 w 9141744"/>
              <a:gd name="connsiteY4" fmla="*/ 0 h 6863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1744" h="6863485">
                <a:moveTo>
                  <a:pt x="0" y="0"/>
                </a:moveTo>
                <a:lnTo>
                  <a:pt x="5963051" y="0"/>
                </a:lnTo>
                <a:lnTo>
                  <a:pt x="9141744" y="6863485"/>
                </a:lnTo>
                <a:lnTo>
                  <a:pt x="0" y="6863485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5" name="Grafik 4" descr="Ein Bild, das Gebäude enthält.&#10;&#10;Automatisch generierte Beschreibung">
            <a:extLst>
              <a:ext uri="{FF2B5EF4-FFF2-40B4-BE49-F238E27FC236}">
                <a16:creationId xmlns:a16="http://schemas.microsoft.com/office/drawing/2014/main" id="{9FB0387A-D59B-4DA5-9E22-3B98BC2F8A7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7" r="18141" b="-1"/>
          <a:stretch/>
        </p:blipFill>
        <p:spPr>
          <a:xfrm>
            <a:off x="5790353" y="10"/>
            <a:ext cx="6401647" cy="6852984"/>
          </a:xfrm>
          <a:custGeom>
            <a:avLst/>
            <a:gdLst>
              <a:gd name="connsiteX0" fmla="*/ 354282 w 6401647"/>
              <a:gd name="connsiteY0" fmla="*/ 0 h 6852994"/>
              <a:gd name="connsiteX1" fmla="*/ 6401647 w 6401647"/>
              <a:gd name="connsiteY1" fmla="*/ 0 h 6852994"/>
              <a:gd name="connsiteX2" fmla="*/ 6401647 w 6401647"/>
              <a:gd name="connsiteY2" fmla="*/ 6852994 h 6852994"/>
              <a:gd name="connsiteX3" fmla="*/ 0 w 6401647"/>
              <a:gd name="connsiteY3" fmla="*/ 6852994 h 6852994"/>
              <a:gd name="connsiteX4" fmla="*/ 0 w 6401647"/>
              <a:gd name="connsiteY4" fmla="*/ 6852993 h 6852994"/>
              <a:gd name="connsiteX5" fmla="*/ 3528116 w 6401647"/>
              <a:gd name="connsiteY5" fmla="*/ 6852993 h 6852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01647" h="6852994">
                <a:moveTo>
                  <a:pt x="354282" y="0"/>
                </a:moveTo>
                <a:lnTo>
                  <a:pt x="6401647" y="0"/>
                </a:lnTo>
                <a:lnTo>
                  <a:pt x="6401647" y="6852994"/>
                </a:lnTo>
                <a:lnTo>
                  <a:pt x="0" y="6852994"/>
                </a:lnTo>
                <a:lnTo>
                  <a:pt x="0" y="6852993"/>
                </a:lnTo>
                <a:lnTo>
                  <a:pt x="3528116" y="6852993"/>
                </a:lnTo>
                <a:close/>
              </a:path>
            </a:pathLst>
          </a:custGeom>
        </p:spPr>
      </p:pic>
      <p:pic>
        <p:nvPicPr>
          <p:cNvPr id="6" name="Grafik 5" descr="Ein Bild, das Text enthält.&#10;&#10;Automatisch generierte Beschreibung">
            <a:extLst>
              <a:ext uri="{FF2B5EF4-FFF2-40B4-BE49-F238E27FC236}">
                <a16:creationId xmlns:a16="http://schemas.microsoft.com/office/drawing/2014/main" id="{93ABB356-7542-422E-81C8-78853DECE82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5" b="30139"/>
          <a:stretch/>
        </p:blipFill>
        <p:spPr>
          <a:xfrm>
            <a:off x="-290711" y="215590"/>
            <a:ext cx="12482711" cy="654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6400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Gebäude enthält.&#10;&#10;Automatisch generierte Beschreibung">
            <a:extLst>
              <a:ext uri="{FF2B5EF4-FFF2-40B4-BE49-F238E27FC236}">
                <a16:creationId xmlns:a16="http://schemas.microsoft.com/office/drawing/2014/main" id="{9FB0387A-D59B-4DA5-9E22-3B98BC2F8A7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11" r="11956"/>
          <a:stretch/>
        </p:blipFill>
        <p:spPr>
          <a:xfrm>
            <a:off x="4654296" y="10"/>
            <a:ext cx="7537707" cy="6857990"/>
          </a:xfrm>
          <a:prstGeom prst="rect">
            <a:avLst/>
          </a:prstGeom>
        </p:spPr>
      </p:pic>
      <p:sp>
        <p:nvSpPr>
          <p:cNvPr id="14" name="Rectangle 16">
            <a:extLst>
              <a:ext uri="{FF2B5EF4-FFF2-40B4-BE49-F238E27FC236}">
                <a16:creationId xmlns:a16="http://schemas.microsoft.com/office/drawing/2014/main" id="{E9DCA5EA-C9F1-43F7-8CD9-E7D77919EB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0099" y="806357"/>
            <a:ext cx="6734553" cy="492861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fik 2" descr="Ein Bild, das Text enthält.&#10;&#10;Automatisch generierte Beschreibung">
            <a:extLst>
              <a:ext uri="{FF2B5EF4-FFF2-40B4-BE49-F238E27FC236}">
                <a16:creationId xmlns:a16="http://schemas.microsoft.com/office/drawing/2014/main" id="{96BD09ED-6E56-4092-9FE4-B3C407BEF9B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"/>
          <a:stretch/>
        </p:blipFill>
        <p:spPr>
          <a:xfrm>
            <a:off x="962403" y="979071"/>
            <a:ext cx="6409944" cy="4583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4934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1</Words>
  <Application>Microsoft Office PowerPoint</Application>
  <PresentationFormat>Breitbild</PresentationFormat>
  <Paragraphs>190</Paragraphs>
  <Slides>24</Slides>
  <Notes>12</Notes>
  <HiddenSlides>3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24</vt:i4>
      </vt:variant>
    </vt:vector>
  </HeadingPairs>
  <TitlesOfParts>
    <vt:vector size="32" baseType="lpstr">
      <vt:lpstr>Arial</vt:lpstr>
      <vt:lpstr>Calibri</vt:lpstr>
      <vt:lpstr>Calibri Light</vt:lpstr>
      <vt:lpstr>Segoe UI Light</vt:lpstr>
      <vt:lpstr>Segoe UI Semibold</vt:lpstr>
      <vt:lpstr>Segoe WP Semibold</vt:lpstr>
      <vt:lpstr>Office</vt:lpstr>
      <vt:lpstr>1_Office</vt:lpstr>
      <vt:lpstr>Microsoft Teams Meetup Berli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Q &amp; A  User Group Co-Lead  Teams Community Day (DACH)  28. Januar 2020   MeetUp Alternative </vt:lpstr>
      <vt:lpstr>PowerPoint-Präsentation</vt:lpstr>
      <vt:lpstr>Bis zum nächsten Meetup! Planung: 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Teams Meetup Berlin</dc:title>
  <dc:creator>Thomas Stensitzki</dc:creator>
  <cp:lastModifiedBy>Thomas Stensitzki</cp:lastModifiedBy>
  <cp:revision>1</cp:revision>
  <dcterms:created xsi:type="dcterms:W3CDTF">2019-11-24T12:38:49Z</dcterms:created>
  <dcterms:modified xsi:type="dcterms:W3CDTF">2019-11-27T18:38:03Z</dcterms:modified>
</cp:coreProperties>
</file>